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presentation.xml" ContentType="application/vnd.openxmlformats-officedocument.presentationml.presentation.main+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12.xml" ContentType="application/vnd.openxmlformats-officedocument.presentationml.slideLayout+xml"/>
  <Override PartName="/ppt/slideLayouts/slideLayout28.xml" ContentType="application/vnd.openxmlformats-officedocument.presentationml.slideLayout+xml"/>
  <Override PartName="/ppt/slideMasters/slideMaster1.xml" ContentType="application/vnd.openxmlformats-officedocument.presentationml.slideMaster+xml"/>
  <Override PartName="/ppt/notesSlides/notesSlide3.xml" ContentType="application/vnd.openxmlformats-officedocument.presentationml.notesSlide+xml"/>
  <Override PartName="/ppt/notesSlides/notesSlide1.xml" ContentType="application/vnd.openxmlformats-officedocument.presentationml.notesSlide+xml"/>
  <Override PartName="/ppt/slideLayouts/slideLayout1.xml" ContentType="application/vnd.openxmlformats-officedocument.presentationml.slideLayout+xml"/>
  <Override PartName="/ppt/notesSlides/notesSlide4.xml" ContentType="application/vnd.openxmlformats-officedocument.presentationml.notesSlide+xml"/>
  <Override PartName="/ppt/slideLayouts/slideLayout2.xml" ContentType="application/vnd.openxmlformats-officedocument.presentationml.slideLayout+xml"/>
  <Override PartName="/ppt/notesSlides/notesSlide2.xml" ContentType="application/vnd.openxmlformats-officedocument.presentationml.notesSlid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2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0.xml" ContentType="application/vnd.openxmlformats-officedocument.presentationml.tags+xml"/>
  <Override PartName="/ppt/tags/tag8.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1.xml" ContentType="application/vnd.openxmlformats-officedocument.presentationml.tags+xml"/>
  <Override PartName="/ppt/tags/tag9.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73" r:id="rId1"/>
  </p:sldMasterIdLst>
  <p:notesMasterIdLst>
    <p:notesMasterId r:id="rId27"/>
  </p:notesMasterIdLst>
  <p:handoutMasterIdLst>
    <p:handoutMasterId r:id="rId28"/>
  </p:handoutMasterIdLst>
  <p:sldIdLst>
    <p:sldId id="256" r:id="rId2"/>
    <p:sldId id="2147376942" r:id="rId3"/>
    <p:sldId id="265" r:id="rId4"/>
    <p:sldId id="2147376906" r:id="rId5"/>
    <p:sldId id="2147376907" r:id="rId6"/>
    <p:sldId id="2147376908" r:id="rId7"/>
    <p:sldId id="275" r:id="rId8"/>
    <p:sldId id="266" r:id="rId9"/>
    <p:sldId id="2147376940" r:id="rId10"/>
    <p:sldId id="2147376941" r:id="rId11"/>
    <p:sldId id="267" r:id="rId12"/>
    <p:sldId id="2147376904" r:id="rId13"/>
    <p:sldId id="2147376935" r:id="rId14"/>
    <p:sldId id="2147376927" r:id="rId15"/>
    <p:sldId id="2147376928" r:id="rId16"/>
    <p:sldId id="2147376929" r:id="rId17"/>
    <p:sldId id="2147376930" r:id="rId18"/>
    <p:sldId id="2147376936" r:id="rId19"/>
    <p:sldId id="2147376931" r:id="rId20"/>
    <p:sldId id="2147376937" r:id="rId21"/>
    <p:sldId id="2147376932" r:id="rId22"/>
    <p:sldId id="2147376933" r:id="rId23"/>
    <p:sldId id="2147376934" r:id="rId24"/>
    <p:sldId id="2147376938" r:id="rId25"/>
    <p:sldId id="2147376939" r:id="rId26"/>
  </p:sldIdLst>
  <p:sldSz cx="9144000" cy="5143500" type="screen16x9"/>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880" userDrawn="1">
          <p15:clr>
            <a:srgbClr val="A4A3A4"/>
          </p15:clr>
        </p15:guide>
        <p15:guide id="2" orient="horz" pos="162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88963" autoAdjust="0"/>
  </p:normalViewPr>
  <p:slideViewPr>
    <p:cSldViewPr snapToGrid="0" showGuides="1">
      <p:cViewPr varScale="1">
        <p:scale>
          <a:sx n="150" d="100"/>
          <a:sy n="150" d="100"/>
        </p:scale>
        <p:origin x="2142" y="126"/>
      </p:cViewPr>
      <p:guideLst>
        <p:guide pos="2880"/>
        <p:guide orient="horz" pos="1620"/>
      </p:guideLst>
    </p:cSldViewPr>
  </p:slideViewPr>
  <p:outlineViewPr>
    <p:cViewPr>
      <p:scale>
        <a:sx n="33" d="100"/>
        <a:sy n="33" d="100"/>
      </p:scale>
      <p:origin x="0" y="-57840"/>
    </p:cViewPr>
  </p:outlin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92" d="100"/>
          <a:sy n="92" d="100"/>
        </p:scale>
        <p:origin x="2730"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customXml" Target="../customXml/item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ustomXml" Target="../customXml/item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37" Type="http://schemas.openxmlformats.org/officeDocument/2006/relationships/customXml" Target="../customXml/item5.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36" Type="http://schemas.openxmlformats.org/officeDocument/2006/relationships/customXml" Target="../customXml/item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 Id="rId35" Type="http://schemas.openxmlformats.org/officeDocument/2006/relationships/customXml" Target="../customXml/item3.xml"/><Relationship Id="rId8" Type="http://schemas.openxmlformats.org/officeDocument/2006/relationships/slide" Target="slides/slide7.xml"/><Relationship Id="rId3"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03228F9-A2C1-482A-9600-35F3610B81E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E6DD098-AF39-4EC6-A3A4-C52AA810A72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5EB128-51B8-42C7-8B26-D0F320982305}" type="datetimeFigureOut">
              <a:rPr lang="en-US" smtClean="0"/>
              <a:t>9/5/2023</a:t>
            </a:fld>
            <a:endParaRPr lang="en-US"/>
          </a:p>
        </p:txBody>
      </p:sp>
      <p:sp>
        <p:nvSpPr>
          <p:cNvPr id="4" name="Footer Placeholder 3">
            <a:extLst>
              <a:ext uri="{FF2B5EF4-FFF2-40B4-BE49-F238E27FC236}">
                <a16:creationId xmlns:a16="http://schemas.microsoft.com/office/drawing/2014/main" id="{382D67EE-AE13-4715-B4C1-659CFA7B8B2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7DA0377-8AE5-47B8-A48C-ADF077F749B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89BDD8-8E42-4415-AD2E-B0DA441CBE3F}" type="slidenum">
              <a:rPr lang="en-US" smtClean="0"/>
              <a:t>‹#›</a:t>
            </a:fld>
            <a:endParaRPr lang="en-US"/>
          </a:p>
        </p:txBody>
      </p:sp>
    </p:spTree>
    <p:extLst>
      <p:ext uri="{BB962C8B-B14F-4D97-AF65-F5344CB8AC3E}">
        <p14:creationId xmlns:p14="http://schemas.microsoft.com/office/powerpoint/2010/main" val="21825807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5EAD866-0404-48F8-BA09-989A590EAA71}" type="datetimeFigureOut">
              <a:rPr lang="en-GB" smtClean="0"/>
              <a:t>05/09/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87ED427-83B0-4210-9E7F-EDD2FDBFC6DC}" type="slidenum">
              <a:rPr lang="en-GB" smtClean="0"/>
              <a:t>‹#›</a:t>
            </a:fld>
            <a:endParaRPr lang="en-GB"/>
          </a:p>
        </p:txBody>
      </p:sp>
    </p:spTree>
    <p:extLst>
      <p:ext uri="{BB962C8B-B14F-4D97-AF65-F5344CB8AC3E}">
        <p14:creationId xmlns:p14="http://schemas.microsoft.com/office/powerpoint/2010/main" val="14127748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43266" y="4435675"/>
            <a:ext cx="6450256" cy="376770"/>
          </a:xfrm>
        </p:spPr>
        <p:txBody>
          <a:bodyPr/>
          <a:lstStyle/>
          <a:p>
            <a:endParaRPr lang="id-ID" dirty="0"/>
          </a:p>
        </p:txBody>
      </p:sp>
      <p:sp>
        <p:nvSpPr>
          <p:cNvPr id="4" name="Slide Number Placeholder 3"/>
          <p:cNvSpPr>
            <a:spLocks noGrp="1"/>
          </p:cNvSpPr>
          <p:nvPr>
            <p:ph type="sldNum" sz="quarter" idx="5"/>
          </p:nvPr>
        </p:nvSpPr>
        <p:spPr>
          <a:xfrm>
            <a:off x="6536428" y="9638123"/>
            <a:ext cx="157094" cy="184666"/>
          </a:xfrm>
        </p:spPr>
        <p:txBody>
          <a:bodyPr/>
          <a:lstStyle/>
          <a:p>
            <a:pPr defTabSz="924458" fontAlgn="auto">
              <a:spcBef>
                <a:spcPts val="0"/>
              </a:spcBef>
              <a:spcAft>
                <a:spcPts val="0"/>
              </a:spcAft>
              <a:defRPr/>
            </a:pPr>
            <a:fld id="{41076221-AA97-476B-BF98-908A8A9631AC}" type="slidenum">
              <a:rPr lang="en-US" sz="1200">
                <a:solidFill>
                  <a:prstClr val="black"/>
                </a:solidFill>
                <a:latin typeface="Calibri" panose="020F0502020204030204"/>
              </a:rPr>
              <a:pPr defTabSz="924458" fontAlgn="auto">
                <a:spcBef>
                  <a:spcPts val="0"/>
                </a:spcBef>
                <a:spcAft>
                  <a:spcPts val="0"/>
                </a:spcAft>
                <a:defRPr/>
              </a:pPr>
              <a:t>15</a:t>
            </a:fld>
            <a:endParaRPr lang="en-US" sz="1200">
              <a:solidFill>
                <a:prstClr val="black"/>
              </a:solidFill>
              <a:latin typeface="Calibri" panose="020F0502020204030204"/>
            </a:endParaRPr>
          </a:p>
        </p:txBody>
      </p:sp>
    </p:spTree>
    <p:extLst>
      <p:ext uri="{BB962C8B-B14F-4D97-AF65-F5344CB8AC3E}">
        <p14:creationId xmlns:p14="http://schemas.microsoft.com/office/powerpoint/2010/main" val="31280595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43266" y="4435675"/>
            <a:ext cx="6450256" cy="376770"/>
          </a:xfrm>
        </p:spPr>
        <p:txBody>
          <a:bodyPr/>
          <a:lstStyle/>
          <a:p>
            <a:endParaRPr lang="id-ID" dirty="0"/>
          </a:p>
        </p:txBody>
      </p:sp>
      <p:sp>
        <p:nvSpPr>
          <p:cNvPr id="4" name="Slide Number Placeholder 3"/>
          <p:cNvSpPr>
            <a:spLocks noGrp="1"/>
          </p:cNvSpPr>
          <p:nvPr>
            <p:ph type="sldNum" sz="quarter" idx="5"/>
          </p:nvPr>
        </p:nvSpPr>
        <p:spPr>
          <a:xfrm>
            <a:off x="6536428" y="9638123"/>
            <a:ext cx="157094" cy="184666"/>
          </a:xfrm>
        </p:spPr>
        <p:txBody>
          <a:bodyPr/>
          <a:lstStyle/>
          <a:p>
            <a:pPr defTabSz="924458" fontAlgn="auto">
              <a:spcBef>
                <a:spcPts val="0"/>
              </a:spcBef>
              <a:spcAft>
                <a:spcPts val="0"/>
              </a:spcAft>
              <a:defRPr/>
            </a:pPr>
            <a:fld id="{41076221-AA97-476B-BF98-908A8A9631AC}" type="slidenum">
              <a:rPr lang="en-US" sz="1200">
                <a:solidFill>
                  <a:prstClr val="black"/>
                </a:solidFill>
                <a:latin typeface="Calibri" panose="020F0502020204030204"/>
              </a:rPr>
              <a:pPr defTabSz="924458" fontAlgn="auto">
                <a:spcBef>
                  <a:spcPts val="0"/>
                </a:spcBef>
                <a:spcAft>
                  <a:spcPts val="0"/>
                </a:spcAft>
                <a:defRPr/>
              </a:pPr>
              <a:t>23</a:t>
            </a:fld>
            <a:endParaRPr lang="en-US" sz="1200">
              <a:solidFill>
                <a:prstClr val="black"/>
              </a:solidFill>
              <a:latin typeface="Calibri" panose="020F0502020204030204"/>
            </a:endParaRPr>
          </a:p>
        </p:txBody>
      </p:sp>
    </p:spTree>
    <p:extLst>
      <p:ext uri="{BB962C8B-B14F-4D97-AF65-F5344CB8AC3E}">
        <p14:creationId xmlns:p14="http://schemas.microsoft.com/office/powerpoint/2010/main" val="25656023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43266" y="4435675"/>
            <a:ext cx="6450256" cy="376770"/>
          </a:xfrm>
        </p:spPr>
        <p:txBody>
          <a:bodyPr/>
          <a:lstStyle/>
          <a:p>
            <a:endParaRPr lang="id-ID" dirty="0"/>
          </a:p>
        </p:txBody>
      </p:sp>
      <p:sp>
        <p:nvSpPr>
          <p:cNvPr id="4" name="Slide Number Placeholder 3"/>
          <p:cNvSpPr>
            <a:spLocks noGrp="1"/>
          </p:cNvSpPr>
          <p:nvPr>
            <p:ph type="sldNum" sz="quarter" idx="5"/>
          </p:nvPr>
        </p:nvSpPr>
        <p:spPr>
          <a:xfrm>
            <a:off x="6536428" y="9638123"/>
            <a:ext cx="157094" cy="184666"/>
          </a:xfrm>
        </p:spPr>
        <p:txBody>
          <a:bodyPr/>
          <a:lstStyle/>
          <a:p>
            <a:pPr defTabSz="924458" fontAlgn="auto">
              <a:spcBef>
                <a:spcPts val="0"/>
              </a:spcBef>
              <a:spcAft>
                <a:spcPts val="0"/>
              </a:spcAft>
              <a:defRPr/>
            </a:pPr>
            <a:fld id="{41076221-AA97-476B-BF98-908A8A9631AC}" type="slidenum">
              <a:rPr lang="en-US" sz="1200">
                <a:solidFill>
                  <a:prstClr val="black"/>
                </a:solidFill>
                <a:latin typeface="Calibri" panose="020F0502020204030204"/>
              </a:rPr>
              <a:pPr defTabSz="924458" fontAlgn="auto">
                <a:spcBef>
                  <a:spcPts val="0"/>
                </a:spcBef>
                <a:spcAft>
                  <a:spcPts val="0"/>
                </a:spcAft>
                <a:defRPr/>
              </a:pPr>
              <a:t>24</a:t>
            </a:fld>
            <a:endParaRPr lang="en-US" sz="1200">
              <a:solidFill>
                <a:prstClr val="black"/>
              </a:solidFill>
              <a:latin typeface="Calibri" panose="020F0502020204030204"/>
            </a:endParaRPr>
          </a:p>
        </p:txBody>
      </p:sp>
    </p:spTree>
    <p:extLst>
      <p:ext uri="{BB962C8B-B14F-4D97-AF65-F5344CB8AC3E}">
        <p14:creationId xmlns:p14="http://schemas.microsoft.com/office/powerpoint/2010/main" val="31339147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43266" y="4435675"/>
            <a:ext cx="6450256" cy="376770"/>
          </a:xfrm>
        </p:spPr>
        <p:txBody>
          <a:bodyPr/>
          <a:lstStyle/>
          <a:p>
            <a:endParaRPr lang="id-ID" dirty="0"/>
          </a:p>
        </p:txBody>
      </p:sp>
      <p:sp>
        <p:nvSpPr>
          <p:cNvPr id="4" name="Slide Number Placeholder 3"/>
          <p:cNvSpPr>
            <a:spLocks noGrp="1"/>
          </p:cNvSpPr>
          <p:nvPr>
            <p:ph type="sldNum" sz="quarter" idx="5"/>
          </p:nvPr>
        </p:nvSpPr>
        <p:spPr>
          <a:xfrm>
            <a:off x="6536428" y="9638123"/>
            <a:ext cx="157094" cy="184666"/>
          </a:xfrm>
        </p:spPr>
        <p:txBody>
          <a:bodyPr/>
          <a:lstStyle/>
          <a:p>
            <a:pPr defTabSz="924458" fontAlgn="auto">
              <a:spcBef>
                <a:spcPts val="0"/>
              </a:spcBef>
              <a:spcAft>
                <a:spcPts val="0"/>
              </a:spcAft>
              <a:defRPr/>
            </a:pPr>
            <a:fld id="{41076221-AA97-476B-BF98-908A8A9631AC}" type="slidenum">
              <a:rPr lang="en-US" sz="1200">
                <a:solidFill>
                  <a:prstClr val="black"/>
                </a:solidFill>
                <a:latin typeface="Calibri" panose="020F0502020204030204"/>
              </a:rPr>
              <a:pPr defTabSz="924458" fontAlgn="auto">
                <a:spcBef>
                  <a:spcPts val="0"/>
                </a:spcBef>
                <a:spcAft>
                  <a:spcPts val="0"/>
                </a:spcAft>
                <a:defRPr/>
              </a:pPr>
              <a:t>25</a:t>
            </a:fld>
            <a:endParaRPr lang="en-US" sz="1200">
              <a:solidFill>
                <a:prstClr val="black"/>
              </a:solidFill>
              <a:latin typeface="Calibri" panose="020F0502020204030204"/>
            </a:endParaRPr>
          </a:p>
        </p:txBody>
      </p:sp>
    </p:spTree>
    <p:extLst>
      <p:ext uri="{BB962C8B-B14F-4D97-AF65-F5344CB8AC3E}">
        <p14:creationId xmlns:p14="http://schemas.microsoft.com/office/powerpoint/2010/main" val="16555293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oleObject" Target="../embeddings/oleObject6.bin"/><Relationship Id="rId7" Type="http://schemas.openxmlformats.org/officeDocument/2006/relationships/image" Target="../media/image10.gif"/><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9.gif"/><Relationship Id="rId5" Type="http://schemas.openxmlformats.org/officeDocument/2006/relationships/image" Target="../media/image8.gif"/><Relationship Id="rId4" Type="http://schemas.openxmlformats.org/officeDocument/2006/relationships/image" Target="../media/image1.emf"/><Relationship Id="rId9" Type="http://schemas.openxmlformats.org/officeDocument/2006/relationships/image" Target="../media/image12.gif"/></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oleObject" Target="../embeddings/oleObject7.bin"/><Relationship Id="rId7" Type="http://schemas.openxmlformats.org/officeDocument/2006/relationships/image" Target="../media/image10.gif"/><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9.gif"/><Relationship Id="rId5" Type="http://schemas.openxmlformats.org/officeDocument/2006/relationships/image" Target="../media/image8.gif"/><Relationship Id="rId4" Type="http://schemas.openxmlformats.org/officeDocument/2006/relationships/image" Target="../media/image1.emf"/><Relationship Id="rId9" Type="http://schemas.openxmlformats.org/officeDocument/2006/relationships/image" Target="../media/image12.gi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oleObject" Target="../embeddings/oleObject8.bin"/><Relationship Id="rId7" Type="http://schemas.openxmlformats.org/officeDocument/2006/relationships/image" Target="../media/image10.gif"/><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9.gif"/><Relationship Id="rId5" Type="http://schemas.openxmlformats.org/officeDocument/2006/relationships/image" Target="../media/image8.gif"/><Relationship Id="rId4" Type="http://schemas.openxmlformats.org/officeDocument/2006/relationships/image" Target="../media/image1.emf"/><Relationship Id="rId9" Type="http://schemas.openxmlformats.org/officeDocument/2006/relationships/image" Target="../media/image12.gif"/></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oleObject" Target="../embeddings/oleObject9.bin"/><Relationship Id="rId7" Type="http://schemas.openxmlformats.org/officeDocument/2006/relationships/image" Target="../media/image10.gif"/><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9.gif"/><Relationship Id="rId5" Type="http://schemas.openxmlformats.org/officeDocument/2006/relationships/image" Target="../media/image8.gif"/><Relationship Id="rId4" Type="http://schemas.openxmlformats.org/officeDocument/2006/relationships/image" Target="../media/image1.emf"/><Relationship Id="rId9" Type="http://schemas.openxmlformats.org/officeDocument/2006/relationships/image" Target="../media/image12.gif"/></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oleObject" Target="../embeddings/oleObject10.bin"/><Relationship Id="rId7" Type="http://schemas.openxmlformats.org/officeDocument/2006/relationships/image" Target="../media/image10.gif"/><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9.gif"/><Relationship Id="rId5" Type="http://schemas.openxmlformats.org/officeDocument/2006/relationships/image" Target="../media/image8.gif"/><Relationship Id="rId4" Type="http://schemas.openxmlformats.org/officeDocument/2006/relationships/image" Target="../media/image1.emf"/><Relationship Id="rId9" Type="http://schemas.openxmlformats.org/officeDocument/2006/relationships/image" Target="../media/image12.gi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oleObject" Target="../embeddings/oleObject11.bin"/><Relationship Id="rId7" Type="http://schemas.openxmlformats.org/officeDocument/2006/relationships/image" Target="../media/image10.gif"/><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9.gif"/><Relationship Id="rId5" Type="http://schemas.openxmlformats.org/officeDocument/2006/relationships/image" Target="../media/image8.gif"/><Relationship Id="rId4" Type="http://schemas.openxmlformats.org/officeDocument/2006/relationships/image" Target="../media/image1.emf"/><Relationship Id="rId9" Type="http://schemas.openxmlformats.org/officeDocument/2006/relationships/image" Target="../media/image12.gi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jpg"/><Relationship Id="rId7"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gradFill>
          <a:gsLst>
            <a:gs pos="45000">
              <a:srgbClr val="56378A"/>
            </a:gs>
            <a:gs pos="10000">
              <a:srgbClr val="C3004A"/>
            </a:gs>
            <a:gs pos="95000">
              <a:srgbClr val="0092BB"/>
            </a:gs>
            <a:gs pos="75000">
              <a:srgbClr val="008BC5"/>
            </a:gs>
          </a:gsLst>
          <a:lin ang="18900000" scaled="0"/>
        </a:gradFill>
        <a:effectLst/>
      </p:bgPr>
    </p:bg>
    <p:spTree>
      <p:nvGrpSpPr>
        <p:cNvPr id="1" name=""/>
        <p:cNvGrpSpPr/>
        <p:nvPr/>
      </p:nvGrpSpPr>
      <p:grpSpPr>
        <a:xfrm>
          <a:off x="0" y="0"/>
          <a:ext cx="0" cy="0"/>
          <a:chOff x="0" y="0"/>
          <a:chExt cx="0" cy="0"/>
        </a:xfrm>
      </p:grpSpPr>
      <p:sp>
        <p:nvSpPr>
          <p:cNvPr id="32" name="Freeform: Shape 31">
            <a:extLst>
              <a:ext uri="{FF2B5EF4-FFF2-40B4-BE49-F238E27FC236}">
                <a16:creationId xmlns:a16="http://schemas.microsoft.com/office/drawing/2014/main" id="{33EEA752-7360-4282-8E79-A5E6346BF71D}"/>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2" name="Title 1"/>
          <p:cNvSpPr>
            <a:spLocks noGrp="1"/>
          </p:cNvSpPr>
          <p:nvPr>
            <p:ph type="ctrTitle" hasCustomPrompt="1"/>
          </p:nvPr>
        </p:nvSpPr>
        <p:spPr bwMode="gray">
          <a:xfrm>
            <a:off x="359999" y="3181213"/>
            <a:ext cx="7073503" cy="1034129"/>
          </a:xfrm>
          <a:noFill/>
        </p:spPr>
        <p:txBody>
          <a:bodyPr wrap="square" lIns="0" tIns="0" rIns="0" bIns="0" rtlCol="0" anchor="b" anchorCtr="0">
            <a:spAutoFit/>
          </a:bodyPr>
          <a:lstStyle>
            <a:lvl1pPr marL="0" algn="l" defTabSz="914400" rtl="0" eaLnBrk="1" latinLnBrk="0" hangingPunct="1">
              <a:lnSpc>
                <a:spcPct val="80000"/>
              </a:lnSpc>
              <a:spcBef>
                <a:spcPts val="0"/>
              </a:spcBef>
              <a:defRPr lang="en-GB" sz="4200" b="1" kern="0">
                <a:solidFill>
                  <a:schemeClr val="bg1"/>
                </a:solidFill>
                <a:latin typeface="+mj-lt"/>
                <a:ea typeface="+mn-ea"/>
                <a:cs typeface="+mn-cs"/>
              </a:defRPr>
            </a:lvl1pPr>
          </a:lstStyle>
          <a:p>
            <a:r>
              <a:rPr lang="en-US" dirty="0"/>
              <a:t>Click to edit </a:t>
            </a:r>
            <a:br>
              <a:rPr lang="en-US" dirty="0"/>
            </a:br>
            <a:r>
              <a:rPr lang="en-US" dirty="0"/>
              <a:t>Master title style</a:t>
            </a:r>
            <a:endParaRPr lang="en-GB" dirty="0"/>
          </a:p>
        </p:txBody>
      </p:sp>
      <p:sp>
        <p:nvSpPr>
          <p:cNvPr id="3" name="Subtitle 2"/>
          <p:cNvSpPr>
            <a:spLocks noGrp="1"/>
          </p:cNvSpPr>
          <p:nvPr>
            <p:ph type="subTitle" idx="1" hasCustomPrompt="1"/>
          </p:nvPr>
        </p:nvSpPr>
        <p:spPr bwMode="gray">
          <a:xfrm>
            <a:off x="360000" y="4257437"/>
            <a:ext cx="7076969" cy="430887"/>
          </a:xfrm>
          <a:noFill/>
        </p:spPr>
        <p:txBody>
          <a:bodyPr wrap="square" lIns="0" tIns="0" rIns="0" bIns="0" rtlCol="0" anchor="t" anchorCtr="0">
            <a:spAutoFit/>
          </a:bodyPr>
          <a:lstStyle>
            <a:lvl1pPr marL="0" indent="0" algn="l" defTabSz="914400" rtl="0" eaLnBrk="1" latinLnBrk="0" hangingPunct="1">
              <a:lnSpc>
                <a:spcPct val="100000"/>
              </a:lnSpc>
              <a:spcBef>
                <a:spcPts val="0"/>
              </a:spcBef>
              <a:buNone/>
              <a:defRPr lang="en-GB" sz="14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a:t>
            </a:r>
            <a:br>
              <a:rPr lang="en-US" dirty="0"/>
            </a:br>
            <a:r>
              <a:rPr lang="en-US" dirty="0"/>
              <a:t>Master subtitle style</a:t>
            </a:r>
            <a:endParaRPr lang="en-GB" dirty="0"/>
          </a:p>
        </p:txBody>
      </p:sp>
      <p:sp>
        <p:nvSpPr>
          <p:cNvPr id="21" name="Right Triangle 20">
            <a:extLst>
              <a:ext uri="{FF2B5EF4-FFF2-40B4-BE49-F238E27FC236}">
                <a16:creationId xmlns:a16="http://schemas.microsoft.com/office/drawing/2014/main" id="{F43D620C-34F6-402E-A082-6EF61CB8A6F6}"/>
              </a:ext>
            </a:extLst>
          </p:cNvPr>
          <p:cNvSpPr/>
          <p:nvPr userDrawn="1"/>
        </p:nvSpPr>
        <p:spPr>
          <a:xfrm flipH="1" flipV="1">
            <a:off x="5138382" y="-1"/>
            <a:ext cx="4005618" cy="4005616"/>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dirty="0" err="1"/>
          </a:p>
        </p:txBody>
      </p:sp>
      <p:grpSp>
        <p:nvGrpSpPr>
          <p:cNvPr id="16" name="Group 15">
            <a:extLst>
              <a:ext uri="{FF2B5EF4-FFF2-40B4-BE49-F238E27FC236}">
                <a16:creationId xmlns:a16="http://schemas.microsoft.com/office/drawing/2014/main" id="{06958351-7C85-455D-8E02-2982B4F40F1B}"/>
              </a:ext>
            </a:extLst>
          </p:cNvPr>
          <p:cNvGrpSpPr/>
          <p:nvPr userDrawn="1"/>
        </p:nvGrpSpPr>
        <p:grpSpPr>
          <a:xfrm>
            <a:off x="9203090" y="4682010"/>
            <a:ext cx="1530000" cy="461490"/>
            <a:chOff x="9203090" y="4682010"/>
            <a:chExt cx="1440002" cy="461490"/>
          </a:xfrm>
        </p:grpSpPr>
        <p:cxnSp>
          <p:nvCxnSpPr>
            <p:cNvPr id="24" name="Straight Connector 23">
              <a:extLst>
                <a:ext uri="{FF2B5EF4-FFF2-40B4-BE49-F238E27FC236}">
                  <a16:creationId xmlns:a16="http://schemas.microsoft.com/office/drawing/2014/main" id="{695BF876-F5E4-433B-87BE-FE23ED292173}"/>
                </a:ext>
              </a:extLst>
            </p:cNvPr>
            <p:cNvCxnSpPr/>
            <p:nvPr/>
          </p:nvCxnSpPr>
          <p:spPr bwMode="gray">
            <a:xfrm flipH="1">
              <a:off x="9203092" y="5143500"/>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E0968F5-8407-4768-A7BB-97C9EB617B15}"/>
                </a:ext>
              </a:extLst>
            </p:cNvPr>
            <p:cNvCxnSpPr/>
            <p:nvPr/>
          </p:nvCxnSpPr>
          <p:spPr bwMode="gray">
            <a:xfrm flipH="1">
              <a:off x="9203092" y="4682010"/>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C5445DC2-250D-48F9-A984-44B022560A73}"/>
                </a:ext>
              </a:extLst>
            </p:cNvPr>
            <p:cNvSpPr/>
            <p:nvPr/>
          </p:nvSpPr>
          <p:spPr bwMode="gray">
            <a:xfrm flipH="1">
              <a:off x="9203090" y="4721225"/>
              <a:ext cx="1439999" cy="422274"/>
            </a:xfrm>
            <a:prstGeom prst="rect">
              <a:avLst/>
            </a:prstGeom>
            <a:solidFill>
              <a:schemeClr val="bg2">
                <a:lumMod val="60000"/>
                <a:lumOff val="4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08000" bIns="54000" rtlCol="0" anchor="b" anchorCtr="0">
              <a:noAutofit/>
            </a:bodyPr>
            <a:lstStyle/>
            <a:p>
              <a:pPr algn="l"/>
              <a:r>
                <a:rPr lang="en-US" sz="1000" b="0" dirty="0">
                  <a:solidFill>
                    <a:schemeClr val="tx1"/>
                  </a:solidFill>
                </a:rPr>
                <a:t>Logo margin bottom</a:t>
              </a:r>
            </a:p>
          </p:txBody>
        </p:sp>
      </p:grpSp>
      <p:grpSp>
        <p:nvGrpSpPr>
          <p:cNvPr id="27" name="Group 26">
            <a:extLst>
              <a:ext uri="{FF2B5EF4-FFF2-40B4-BE49-F238E27FC236}">
                <a16:creationId xmlns:a16="http://schemas.microsoft.com/office/drawing/2014/main" id="{E0B853D6-36E3-4A5D-871E-E2C4345B9F60}"/>
              </a:ext>
            </a:extLst>
          </p:cNvPr>
          <p:cNvGrpSpPr/>
          <p:nvPr userDrawn="1"/>
        </p:nvGrpSpPr>
        <p:grpSpPr>
          <a:xfrm>
            <a:off x="8801099" y="5203311"/>
            <a:ext cx="342904" cy="1530000"/>
            <a:chOff x="8801099" y="5203311"/>
            <a:chExt cx="342904" cy="1440000"/>
          </a:xfrm>
        </p:grpSpPr>
        <p:cxnSp>
          <p:nvCxnSpPr>
            <p:cNvPr id="28" name="Straight Connector 27">
              <a:extLst>
                <a:ext uri="{FF2B5EF4-FFF2-40B4-BE49-F238E27FC236}">
                  <a16:creationId xmlns:a16="http://schemas.microsoft.com/office/drawing/2014/main" id="{12F9024F-2FEC-4127-9DE4-9B0C4BC0EDC1}"/>
                </a:ext>
              </a:extLst>
            </p:cNvPr>
            <p:cNvCxnSpPr/>
            <p:nvPr/>
          </p:nvCxnSpPr>
          <p:spPr bwMode="gray">
            <a:xfrm rot="5400000" flipH="1">
              <a:off x="8081575" y="5923311"/>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FA56D73-E4E4-4E65-AC59-1FD9A75519F9}"/>
                </a:ext>
              </a:extLst>
            </p:cNvPr>
            <p:cNvCxnSpPr/>
            <p:nvPr/>
          </p:nvCxnSpPr>
          <p:spPr bwMode="gray">
            <a:xfrm rot="5400000" flipH="1">
              <a:off x="8424003" y="5923311"/>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7A709E1B-463B-4416-9A9B-8CB47E66AC5C}"/>
                </a:ext>
              </a:extLst>
            </p:cNvPr>
            <p:cNvSpPr/>
            <p:nvPr/>
          </p:nvSpPr>
          <p:spPr bwMode="gray">
            <a:xfrm rot="5400000" flipH="1">
              <a:off x="8251993" y="5752418"/>
              <a:ext cx="1439999" cy="341787"/>
            </a:xfrm>
            <a:prstGeom prst="rect">
              <a:avLst/>
            </a:prstGeom>
            <a:solidFill>
              <a:schemeClr val="bg2">
                <a:lumMod val="60000"/>
                <a:lumOff val="4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08000" bIns="54000" rtlCol="0" anchor="b" anchorCtr="0">
              <a:noAutofit/>
            </a:bodyPr>
            <a:lstStyle/>
            <a:p>
              <a:pPr algn="l"/>
              <a:r>
                <a:rPr lang="en-US" sz="1000" b="0" dirty="0">
                  <a:solidFill>
                    <a:schemeClr val="tx1"/>
                  </a:solidFill>
                </a:rPr>
                <a:t>Logo margin right</a:t>
              </a:r>
            </a:p>
          </p:txBody>
        </p:sp>
      </p:grpSp>
      <p:pic>
        <p:nvPicPr>
          <p:cNvPr id="18" name="Picture 17">
            <a:extLst>
              <a:ext uri="{FF2B5EF4-FFF2-40B4-BE49-F238E27FC236}">
                <a16:creationId xmlns:a16="http://schemas.microsoft.com/office/drawing/2014/main" id="{687A9F34-604C-4A25-A03C-E585E0B017FC}"/>
              </a:ext>
            </a:extLst>
          </p:cNvPr>
          <p:cNvPicPr>
            <a:picLocks noChangeAspect="1"/>
          </p:cNvPicPr>
          <p:nvPr userDrawn="1"/>
        </p:nvPicPr>
        <p:blipFill>
          <a:blip r:embed="rId2"/>
          <a:stretch>
            <a:fillRect/>
          </a:stretch>
        </p:blipFill>
        <p:spPr>
          <a:xfrm>
            <a:off x="6557960" y="381004"/>
            <a:ext cx="2232000" cy="328013"/>
          </a:xfrm>
          <a:prstGeom prst="rect">
            <a:avLst/>
          </a:prstGeom>
        </p:spPr>
      </p:pic>
    </p:spTree>
    <p:extLst>
      <p:ext uri="{BB962C8B-B14F-4D97-AF65-F5344CB8AC3E}">
        <p14:creationId xmlns:p14="http://schemas.microsoft.com/office/powerpoint/2010/main" val="368669858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Four Mixed Content">
    <p:bg bwMode="gray">
      <p:bgRef idx="1001">
        <a:schemeClr val="bg1"/>
      </p:bgRef>
    </p:bg>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bwMode="gray"/>
        <p:txBody>
          <a:bodyPr/>
          <a:lstStyle/>
          <a:p>
            <a:pPr>
              <a:defRPr/>
            </a:pPr>
            <a:fld id="{537E2E77-CED1-4E84-91C2-4E0176ECD4FC}" type="slidenum">
              <a:rPr lang="nl-NL" smtClean="0"/>
              <a:pPr>
                <a:defRPr/>
              </a:pPr>
              <a:t>‹#›</a:t>
            </a:fld>
            <a:endParaRPr lang="nl-NL" dirty="0"/>
          </a:p>
        </p:txBody>
      </p:sp>
      <p:sp>
        <p:nvSpPr>
          <p:cNvPr id="9" name="Footer Placeholder 8"/>
          <p:cNvSpPr>
            <a:spLocks noGrp="1"/>
          </p:cNvSpPr>
          <p:nvPr>
            <p:ph type="ftr" sz="quarter" idx="11"/>
          </p:nvPr>
        </p:nvSpPr>
        <p:spPr bwMode="gray"/>
        <p:txBody>
          <a:bodyPr/>
          <a:lstStyle/>
          <a:p>
            <a:r>
              <a:rPr lang="nl-NL"/>
              <a:t>Business unit | Footer</a:t>
            </a:r>
            <a:endParaRPr lang="nl-NL" dirty="0"/>
          </a:p>
        </p:txBody>
      </p:sp>
      <p:sp>
        <p:nvSpPr>
          <p:cNvPr id="17" name="Content Placeholder 16"/>
          <p:cNvSpPr>
            <a:spLocks noGrp="1"/>
          </p:cNvSpPr>
          <p:nvPr>
            <p:ph sz="quarter" idx="18"/>
          </p:nvPr>
        </p:nvSpPr>
        <p:spPr bwMode="gray">
          <a:xfrm>
            <a:off x="352425" y="974122"/>
            <a:ext cx="199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p:cNvSpPr>
            <a:spLocks noGrp="1"/>
          </p:cNvSpPr>
          <p:nvPr>
            <p:ph sz="quarter" idx="19"/>
          </p:nvPr>
        </p:nvSpPr>
        <p:spPr bwMode="gray">
          <a:xfrm>
            <a:off x="2499475" y="974122"/>
            <a:ext cx="199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6"/>
          <p:cNvSpPr>
            <a:spLocks noGrp="1"/>
          </p:cNvSpPr>
          <p:nvPr>
            <p:ph sz="quarter" idx="20"/>
          </p:nvPr>
        </p:nvSpPr>
        <p:spPr bwMode="gray">
          <a:xfrm>
            <a:off x="4646525" y="974122"/>
            <a:ext cx="199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a:xfrm>
            <a:off x="352425" y="164631"/>
            <a:ext cx="6487573" cy="720000"/>
          </a:xfrm>
        </p:spPr>
        <p:txBody>
          <a:bodyPr/>
          <a:lstStyle/>
          <a:p>
            <a:r>
              <a:rPr lang="en-US"/>
              <a:t>Click to edit Master title style</a:t>
            </a:r>
            <a:endParaRPr lang="en-GB"/>
          </a:p>
        </p:txBody>
      </p:sp>
      <p:sp>
        <p:nvSpPr>
          <p:cNvPr id="13" name="Content Placeholder 16"/>
          <p:cNvSpPr>
            <a:spLocks noGrp="1"/>
          </p:cNvSpPr>
          <p:nvPr>
            <p:ph sz="quarter" idx="21"/>
          </p:nvPr>
        </p:nvSpPr>
        <p:spPr bwMode="gray">
          <a:xfrm>
            <a:off x="6793575" y="974122"/>
            <a:ext cx="199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13"/>
          <p:cNvSpPr>
            <a:spLocks noGrp="1"/>
          </p:cNvSpPr>
          <p:nvPr>
            <p:ph type="pic" sz="quarter" idx="23"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16" name="Text Placeholder 4"/>
          <p:cNvSpPr>
            <a:spLocks noGrp="1"/>
          </p:cNvSpPr>
          <p:nvPr>
            <p:ph type="body" sz="quarter" idx="17"/>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12" name="Text Placeholder 30"/>
          <p:cNvSpPr>
            <a:spLocks noGrp="1"/>
          </p:cNvSpPr>
          <p:nvPr>
            <p:ph type="body" sz="quarter" idx="16" hasCustomPrompt="1"/>
          </p:nvPr>
        </p:nvSpPr>
        <p:spPr bwMode="gray">
          <a:xfrm>
            <a:off x="352425" y="4546964"/>
            <a:ext cx="8438400" cy="102592"/>
          </a:xfrm>
        </p:spPr>
        <p:txBody>
          <a:bodyPr anchor="b" anchorCtr="0">
            <a:spAutoFit/>
          </a:bodyPr>
          <a:lstStyle>
            <a:lvl1pPr>
              <a:lnSpc>
                <a:spcPts val="800"/>
              </a:lnSpc>
              <a:spcBef>
                <a:spcPts val="0"/>
              </a:spcBef>
              <a:spcAft>
                <a:spcPts val="0"/>
              </a:spcAft>
              <a:tabLst>
                <a:tab pos="180975" algn="l"/>
              </a:tabLst>
              <a:defRPr sz="800" b="0">
                <a:solidFill>
                  <a:schemeClr val="tx2"/>
                </a:solidFill>
              </a:defRPr>
            </a:lvl1pPr>
            <a:lvl2pPr>
              <a:spcBef>
                <a:spcPts val="0"/>
              </a:spcBef>
              <a:spcAft>
                <a:spcPts val="0"/>
              </a:spcAft>
              <a:defRPr/>
            </a:lvl2pPr>
            <a:lvl3pPr>
              <a:spcBef>
                <a:spcPts val="0"/>
              </a:spcBef>
              <a:spcAft>
                <a:spcPts val="0"/>
              </a:spcAft>
              <a:defRPr/>
            </a:lvl3pPr>
            <a:lvl4pPr>
              <a:spcBef>
                <a:spcPts val="0"/>
              </a:spcBef>
              <a:spcAft>
                <a:spcPts val="0"/>
              </a:spcAft>
              <a:defRPr/>
            </a:lvl4pPr>
            <a:lvl5pPr>
              <a:spcBef>
                <a:spcPts val="0"/>
              </a:spcBef>
              <a:spcAft>
                <a:spcPts val="0"/>
              </a:spcAft>
              <a:defRPr/>
            </a:lvl5pPr>
          </a:lstStyle>
          <a:p>
            <a:pPr lvl="0"/>
            <a:r>
              <a:rPr lang="en-US" dirty="0"/>
              <a:t>Click to </a:t>
            </a:r>
            <a:r>
              <a:rPr lang="en-US"/>
              <a:t>edit Source </a:t>
            </a:r>
            <a:r>
              <a:rPr lang="en-US" dirty="0"/>
              <a:t>text styles Arial Regular 8pt</a:t>
            </a:r>
          </a:p>
        </p:txBody>
      </p:sp>
    </p:spTree>
    <p:extLst>
      <p:ext uri="{BB962C8B-B14F-4D97-AF65-F5344CB8AC3E}">
        <p14:creationId xmlns:p14="http://schemas.microsoft.com/office/powerpoint/2010/main" val="19389794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ad Mixed Content">
    <p:bg bwMode="gray">
      <p:bgRef idx="1001">
        <a:schemeClr val="bg1"/>
      </p:bgRef>
    </p:bg>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bwMode="gray"/>
        <p:txBody>
          <a:bodyPr/>
          <a:lstStyle/>
          <a:p>
            <a:pPr>
              <a:defRPr/>
            </a:pPr>
            <a:fld id="{537E2E77-CED1-4E84-91C2-4E0176ECD4FC}" type="slidenum">
              <a:rPr lang="nl-NL" smtClean="0"/>
              <a:pPr>
                <a:defRPr/>
              </a:pPr>
              <a:t>‹#›</a:t>
            </a:fld>
            <a:endParaRPr lang="nl-NL" dirty="0"/>
          </a:p>
        </p:txBody>
      </p:sp>
      <p:sp>
        <p:nvSpPr>
          <p:cNvPr id="9" name="Footer Placeholder 8"/>
          <p:cNvSpPr>
            <a:spLocks noGrp="1"/>
          </p:cNvSpPr>
          <p:nvPr>
            <p:ph type="ftr" sz="quarter" idx="11"/>
          </p:nvPr>
        </p:nvSpPr>
        <p:spPr bwMode="gray"/>
        <p:txBody>
          <a:bodyPr/>
          <a:lstStyle/>
          <a:p>
            <a:r>
              <a:rPr lang="nl-NL"/>
              <a:t>Business unit | Footer</a:t>
            </a:r>
            <a:endParaRPr lang="nl-NL" dirty="0"/>
          </a:p>
        </p:txBody>
      </p:sp>
      <p:sp>
        <p:nvSpPr>
          <p:cNvPr id="17" name="Content Placeholder 16"/>
          <p:cNvSpPr>
            <a:spLocks noGrp="1"/>
          </p:cNvSpPr>
          <p:nvPr>
            <p:ph sz="quarter" idx="18"/>
          </p:nvPr>
        </p:nvSpPr>
        <p:spPr bwMode="gray">
          <a:xfrm>
            <a:off x="352425" y="974122"/>
            <a:ext cx="4140000" cy="16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p:cNvSpPr>
            <a:spLocks noGrp="1"/>
          </p:cNvSpPr>
          <p:nvPr>
            <p:ph sz="quarter" idx="19"/>
          </p:nvPr>
        </p:nvSpPr>
        <p:spPr bwMode="gray">
          <a:xfrm>
            <a:off x="4651575" y="974122"/>
            <a:ext cx="4140000" cy="16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13"/>
          <p:cNvSpPr>
            <a:spLocks noGrp="1"/>
          </p:cNvSpPr>
          <p:nvPr>
            <p:ph type="pic" sz="quarter" idx="21"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15" name="Text Placeholder 4"/>
          <p:cNvSpPr>
            <a:spLocks noGrp="1"/>
          </p:cNvSpPr>
          <p:nvPr>
            <p:ph type="body" sz="quarter" idx="17"/>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11" name="Content Placeholder 16"/>
          <p:cNvSpPr>
            <a:spLocks noGrp="1"/>
          </p:cNvSpPr>
          <p:nvPr>
            <p:ph sz="quarter" idx="22"/>
          </p:nvPr>
        </p:nvSpPr>
        <p:spPr bwMode="gray">
          <a:xfrm>
            <a:off x="352425" y="2809871"/>
            <a:ext cx="4140000" cy="16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6"/>
          <p:cNvSpPr>
            <a:spLocks noGrp="1"/>
          </p:cNvSpPr>
          <p:nvPr>
            <p:ph sz="quarter" idx="23"/>
          </p:nvPr>
        </p:nvSpPr>
        <p:spPr bwMode="gray">
          <a:xfrm>
            <a:off x="4651575" y="2809871"/>
            <a:ext cx="4140000" cy="16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a:xfrm>
            <a:off x="352425" y="164631"/>
            <a:ext cx="6487573" cy="720000"/>
          </a:xfrm>
        </p:spPr>
        <p:txBody>
          <a:bodyPr/>
          <a:lstStyle/>
          <a:p>
            <a:r>
              <a:rPr lang="en-US"/>
              <a:t>Click to edit Master title style</a:t>
            </a:r>
            <a:endParaRPr lang="en-GB"/>
          </a:p>
        </p:txBody>
      </p:sp>
      <p:sp>
        <p:nvSpPr>
          <p:cNvPr id="12" name="Text Placeholder 30"/>
          <p:cNvSpPr>
            <a:spLocks noGrp="1"/>
          </p:cNvSpPr>
          <p:nvPr>
            <p:ph type="body" sz="quarter" idx="16" hasCustomPrompt="1"/>
          </p:nvPr>
        </p:nvSpPr>
        <p:spPr bwMode="gray">
          <a:xfrm>
            <a:off x="352425" y="4546964"/>
            <a:ext cx="8438400" cy="102592"/>
          </a:xfrm>
        </p:spPr>
        <p:txBody>
          <a:bodyPr anchor="b" anchorCtr="0">
            <a:spAutoFit/>
          </a:bodyPr>
          <a:lstStyle>
            <a:lvl1pPr>
              <a:lnSpc>
                <a:spcPts val="800"/>
              </a:lnSpc>
              <a:spcBef>
                <a:spcPts val="0"/>
              </a:spcBef>
              <a:spcAft>
                <a:spcPts val="0"/>
              </a:spcAft>
              <a:tabLst>
                <a:tab pos="180975" algn="l"/>
              </a:tabLst>
              <a:defRPr sz="800" b="0">
                <a:solidFill>
                  <a:schemeClr val="tx2"/>
                </a:solidFill>
              </a:defRPr>
            </a:lvl1pPr>
            <a:lvl2pPr>
              <a:spcBef>
                <a:spcPts val="0"/>
              </a:spcBef>
              <a:spcAft>
                <a:spcPts val="0"/>
              </a:spcAft>
              <a:defRPr/>
            </a:lvl2pPr>
            <a:lvl3pPr>
              <a:spcBef>
                <a:spcPts val="0"/>
              </a:spcBef>
              <a:spcAft>
                <a:spcPts val="0"/>
              </a:spcAft>
              <a:defRPr/>
            </a:lvl3pPr>
            <a:lvl4pPr>
              <a:spcBef>
                <a:spcPts val="0"/>
              </a:spcBef>
              <a:spcAft>
                <a:spcPts val="0"/>
              </a:spcAft>
              <a:defRPr/>
            </a:lvl4pPr>
            <a:lvl5pPr>
              <a:spcBef>
                <a:spcPts val="0"/>
              </a:spcBef>
              <a:spcAft>
                <a:spcPts val="0"/>
              </a:spcAft>
              <a:defRPr/>
            </a:lvl5pPr>
          </a:lstStyle>
          <a:p>
            <a:pPr lvl="0"/>
            <a:r>
              <a:rPr lang="en-US" dirty="0"/>
              <a:t>Click to </a:t>
            </a:r>
            <a:r>
              <a:rPr lang="en-US"/>
              <a:t>edit Source </a:t>
            </a:r>
            <a:r>
              <a:rPr lang="en-US" dirty="0"/>
              <a:t>text styles Arial Regular 8pt</a:t>
            </a:r>
          </a:p>
        </p:txBody>
      </p:sp>
    </p:spTree>
    <p:extLst>
      <p:ext uri="{BB962C8B-B14F-4D97-AF65-F5344CB8AC3E}">
        <p14:creationId xmlns:p14="http://schemas.microsoft.com/office/powerpoint/2010/main" val="26708686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bwMode="gray">
      <p:bgPr>
        <a:gradFill>
          <a:gsLst>
            <a:gs pos="45000">
              <a:srgbClr val="56378A"/>
            </a:gs>
            <a:gs pos="10000">
              <a:srgbClr val="C3004A"/>
            </a:gs>
            <a:gs pos="95000">
              <a:srgbClr val="0092BB"/>
            </a:gs>
            <a:gs pos="75000">
              <a:srgbClr val="008BC5"/>
            </a:gs>
          </a:gsLst>
          <a:lin ang="18900000" scaled="0"/>
        </a:gradFill>
        <a:effectLst/>
      </p:bgPr>
    </p:bg>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BB7D8D07-0BCF-4BB0-A207-66204584BC8F}"/>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aphicFrame>
        <p:nvGraphicFramePr>
          <p:cNvPr id="37" name="Object 3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37" name="Object 3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Slide Number Placeholder 7"/>
          <p:cNvSpPr>
            <a:spLocks noGrp="1"/>
          </p:cNvSpPr>
          <p:nvPr>
            <p:ph type="sldNum" sz="quarter" idx="10"/>
          </p:nvPr>
        </p:nvSpPr>
        <p:spPr bwMode="gray"/>
        <p:txBody>
          <a:bodyPr/>
          <a:lstStyle>
            <a:lvl1pPr>
              <a:defRPr>
                <a:solidFill>
                  <a:schemeClr val="bg1"/>
                </a:solidFill>
              </a:defRPr>
            </a:lvl1pPr>
          </a:lstStyle>
          <a:p>
            <a:pPr>
              <a:defRPr/>
            </a:pPr>
            <a:fld id="{537E2E77-CED1-4E84-91C2-4E0176ECD4FC}" type="slidenum">
              <a:rPr lang="en-US" smtClean="0"/>
              <a:pPr>
                <a:defRPr/>
              </a:pPr>
              <a:t>‹#›</a:t>
            </a:fld>
            <a:endParaRPr lang="en-US" dirty="0"/>
          </a:p>
        </p:txBody>
      </p:sp>
      <p:sp>
        <p:nvSpPr>
          <p:cNvPr id="9" name="Footer Placeholder 8"/>
          <p:cNvSpPr>
            <a:spLocks noGrp="1"/>
          </p:cNvSpPr>
          <p:nvPr>
            <p:ph type="ftr" sz="quarter" idx="11"/>
          </p:nvPr>
        </p:nvSpPr>
        <p:spPr bwMode="gray"/>
        <p:txBody>
          <a:bodyPr/>
          <a:lstStyle>
            <a:lvl1pPr>
              <a:defRPr>
                <a:solidFill>
                  <a:schemeClr val="bg1"/>
                </a:solidFill>
              </a:defRPr>
            </a:lvl1pPr>
          </a:lstStyle>
          <a:p>
            <a:r>
              <a:rPr lang="en-US" noProof="0"/>
              <a:t>Business unit | Footer</a:t>
            </a:r>
            <a:endParaRPr lang="en-US" noProof="0" dirty="0"/>
          </a:p>
        </p:txBody>
      </p:sp>
      <p:sp>
        <p:nvSpPr>
          <p:cNvPr id="4" name="Text Placeholder 3"/>
          <p:cNvSpPr>
            <a:spLocks noGrp="1"/>
          </p:cNvSpPr>
          <p:nvPr>
            <p:ph type="body" sz="quarter" idx="12"/>
          </p:nvPr>
        </p:nvSpPr>
        <p:spPr>
          <a:xfrm>
            <a:off x="352425" y="945662"/>
            <a:ext cx="8439150" cy="3602526"/>
          </a:xfrm>
        </p:spPr>
        <p:txBody>
          <a:bodyPr/>
          <a:lstStyle>
            <a:lvl1pPr>
              <a:lnSpc>
                <a:spcPct val="90000"/>
              </a:lnSpc>
              <a:spcBef>
                <a:spcPts val="0"/>
              </a:spcBef>
              <a:defRPr sz="4000" b="1">
                <a:solidFill>
                  <a:schemeClr val="bg1"/>
                </a:solidFill>
              </a:defRPr>
            </a:lvl1pPr>
            <a:lvl2pPr marL="719138" indent="-719138">
              <a:lnSpc>
                <a:spcPct val="90000"/>
              </a:lnSpc>
              <a:spcBef>
                <a:spcPts val="0"/>
              </a:spcBef>
              <a:buFontTx/>
              <a:buBlip>
                <a:blip r:embed="rId5"/>
              </a:buBlip>
              <a:defRPr sz="4000" b="1">
                <a:solidFill>
                  <a:schemeClr val="bg1"/>
                </a:solidFill>
              </a:defRPr>
            </a:lvl2pPr>
            <a:lvl3pPr marL="1255713" indent="-536575">
              <a:lnSpc>
                <a:spcPct val="90000"/>
              </a:lnSpc>
              <a:spcBef>
                <a:spcPts val="0"/>
              </a:spcBef>
              <a:buClr>
                <a:schemeClr val="bg1"/>
              </a:buClr>
              <a:defRPr sz="4000" b="1">
                <a:solidFill>
                  <a:schemeClr val="bg1"/>
                </a:solidFill>
              </a:defRPr>
            </a:lvl3pPr>
            <a:lvl4pPr marL="1792288" indent="-534988">
              <a:lnSpc>
                <a:spcPct val="90000"/>
              </a:lnSpc>
              <a:spcBef>
                <a:spcPts val="0"/>
              </a:spcBef>
              <a:buClr>
                <a:schemeClr val="bg1"/>
              </a:buClr>
              <a:defRPr sz="4000" b="1">
                <a:solidFill>
                  <a:schemeClr val="bg1"/>
                </a:solidFill>
              </a:defRPr>
            </a:lvl4pPr>
            <a:lvl5pPr marL="2328863" indent="-534988">
              <a:lnSpc>
                <a:spcPct val="90000"/>
              </a:lnSpc>
              <a:spcBef>
                <a:spcPts val="0"/>
              </a:spcBef>
              <a:buClr>
                <a:schemeClr val="bg1"/>
              </a:buClr>
              <a:defRPr sz="4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Rectangle 17"/>
          <p:cNvSpPr/>
          <p:nvPr/>
        </p:nvSpPr>
        <p:spPr bwMode="gray">
          <a:xfrm>
            <a:off x="-1671638" y="1405512"/>
            <a:ext cx="1531557" cy="1802493"/>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8000" bIns="108000" rtlCol="0" anchor="b" anchorCtr="0">
            <a:noAutofit/>
          </a:bodyPr>
          <a:lstStyle/>
          <a:p>
            <a:pPr algn="l"/>
            <a:r>
              <a:rPr lang="en-US" sz="900" b="1">
                <a:solidFill>
                  <a:schemeClr val="tx1"/>
                </a:solidFill>
              </a:rPr>
              <a:t>AkzoNobel Bullets</a:t>
            </a:r>
            <a:endParaRPr lang="en-US" sz="900" b="1" dirty="0">
              <a:solidFill>
                <a:schemeClr val="tx1"/>
              </a:solidFill>
            </a:endParaRPr>
          </a:p>
          <a:p>
            <a:pPr algn="l"/>
            <a:r>
              <a:rPr lang="en-US" sz="900" b="0">
                <a:solidFill>
                  <a:schemeClr val="tx1"/>
                </a:solidFill>
              </a:rPr>
              <a:t>Only use the </a:t>
            </a:r>
            <a:r>
              <a:rPr lang="en-US" sz="900" b="0" u="sng">
                <a:solidFill>
                  <a:schemeClr val="tx1"/>
                </a:solidFill>
              </a:rPr>
              <a:t>List Level buttons</a:t>
            </a:r>
            <a:r>
              <a:rPr lang="en-US" sz="900" b="0">
                <a:solidFill>
                  <a:schemeClr val="tx1"/>
                </a:solidFill>
              </a:rPr>
              <a:t> to apply the</a:t>
            </a:r>
            <a:r>
              <a:rPr lang="en-US" sz="900" b="0" baseline="0">
                <a:solidFill>
                  <a:schemeClr val="tx1"/>
                </a:solidFill>
              </a:rPr>
              <a:t> </a:t>
            </a:r>
            <a:r>
              <a:rPr lang="en-US" sz="900" b="0" i="0" u="none" baseline="0">
                <a:solidFill>
                  <a:schemeClr val="tx1"/>
                </a:solidFill>
              </a:rPr>
              <a:t>AkzoNobel Branded Bullets</a:t>
            </a:r>
            <a:endParaRPr lang="en-US" sz="900" b="0" i="0" u="none" dirty="0">
              <a:solidFill>
                <a:schemeClr val="tx1"/>
              </a:solidFill>
            </a:endParaRPr>
          </a:p>
        </p:txBody>
      </p:sp>
      <p:grpSp>
        <p:nvGrpSpPr>
          <p:cNvPr id="19" name="Group 18"/>
          <p:cNvGrpSpPr/>
          <p:nvPr/>
        </p:nvGrpSpPr>
        <p:grpSpPr bwMode="gray">
          <a:xfrm>
            <a:off x="-1573454" y="1531453"/>
            <a:ext cx="1335187" cy="795026"/>
            <a:chOff x="-1573454" y="1531453"/>
            <a:chExt cx="1335187" cy="795026"/>
          </a:xfrm>
        </p:grpSpPr>
        <p:pic>
          <p:nvPicPr>
            <p:cNvPr id="20" name="Picture 19"/>
            <p:cNvPicPr>
              <a:picLocks noChangeAspect="1"/>
            </p:cNvPicPr>
            <p:nvPr/>
          </p:nvPicPr>
          <p:blipFill>
            <a:blip r:embed="rId6"/>
            <a:srcRect l="18732" t="14956" r="50206" b="52163"/>
            <a:stretch>
              <a:fillRect/>
            </a:stretch>
          </p:blipFill>
          <p:spPr bwMode="gray">
            <a:xfrm>
              <a:off x="-1573454" y="1531453"/>
              <a:ext cx="1335187" cy="795026"/>
            </a:xfrm>
            <a:custGeom>
              <a:avLst/>
              <a:gdLst>
                <a:gd name="connsiteX0" fmla="*/ 0 w 2840306"/>
                <a:gd name="connsiteY0" fmla="*/ 0 h 1691236"/>
                <a:gd name="connsiteX1" fmla="*/ 2840306 w 2840306"/>
                <a:gd name="connsiteY1" fmla="*/ 0 h 1691236"/>
                <a:gd name="connsiteX2" fmla="*/ 2840306 w 2840306"/>
                <a:gd name="connsiteY2" fmla="*/ 1691236 h 1691236"/>
                <a:gd name="connsiteX3" fmla="*/ 0 w 2840306"/>
                <a:gd name="connsiteY3" fmla="*/ 1691236 h 1691236"/>
              </a:gdLst>
              <a:ahLst/>
              <a:cxnLst>
                <a:cxn ang="0">
                  <a:pos x="connsiteX0" y="connsiteY0"/>
                </a:cxn>
                <a:cxn ang="0">
                  <a:pos x="connsiteX1" y="connsiteY1"/>
                </a:cxn>
                <a:cxn ang="0">
                  <a:pos x="connsiteX2" y="connsiteY2"/>
                </a:cxn>
                <a:cxn ang="0">
                  <a:pos x="connsiteX3" y="connsiteY3"/>
                </a:cxn>
              </a:cxnLst>
              <a:rect l="l" t="t" r="r" b="b"/>
              <a:pathLst>
                <a:path w="2840306" h="1691236">
                  <a:moveTo>
                    <a:pt x="0" y="0"/>
                  </a:moveTo>
                  <a:lnTo>
                    <a:pt x="2840306" y="0"/>
                  </a:lnTo>
                  <a:lnTo>
                    <a:pt x="2840306" y="1691236"/>
                  </a:lnTo>
                  <a:lnTo>
                    <a:pt x="0" y="1691236"/>
                  </a:lnTo>
                  <a:close/>
                </a:path>
              </a:pathLst>
            </a:custGeom>
          </p:spPr>
        </p:pic>
        <p:sp>
          <p:nvSpPr>
            <p:cNvPr id="21" name="Multiply 20"/>
            <p:cNvSpPr/>
            <p:nvPr/>
          </p:nvSpPr>
          <p:spPr bwMode="gray">
            <a:xfrm>
              <a:off x="-1571627" y="1551174"/>
              <a:ext cx="245272" cy="245272"/>
            </a:xfrm>
            <a:prstGeom prst="mathMultiply">
              <a:avLst>
                <a:gd name="adj1" fmla="val 831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dirty="0" err="1"/>
            </a:p>
          </p:txBody>
        </p:sp>
      </p:grpSp>
      <p:pic>
        <p:nvPicPr>
          <p:cNvPr id="23" name="Picture 22">
            <a:extLst>
              <a:ext uri="{FF2B5EF4-FFF2-40B4-BE49-F238E27FC236}">
                <a16:creationId xmlns:a16="http://schemas.microsoft.com/office/drawing/2014/main" id="{A9108234-EC49-4872-A1B2-08C93F174D8B}"/>
              </a:ext>
            </a:extLst>
          </p:cNvPr>
          <p:cNvPicPr>
            <a:picLocks noChangeAspect="1"/>
          </p:cNvPicPr>
          <p:nvPr userDrawn="1"/>
        </p:nvPicPr>
        <p:blipFill>
          <a:blip r:embed="rId7"/>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1994014403"/>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ull Image with Header 2, white logo">
    <p:bg>
      <p:bgPr>
        <a:solidFill>
          <a:srgbClr val="FFFFFF"/>
        </a:solidFill>
        <a:effectLst/>
      </p:bgPr>
    </p:bg>
    <p:spTree>
      <p:nvGrpSpPr>
        <p:cNvPr id="1" name=""/>
        <p:cNvGrpSpPr/>
        <p:nvPr/>
      </p:nvGrpSpPr>
      <p:grpSpPr>
        <a:xfrm>
          <a:off x="0" y="0"/>
          <a:ext cx="0" cy="0"/>
          <a:chOff x="0" y="0"/>
          <a:chExt cx="0" cy="0"/>
        </a:xfrm>
      </p:grpSpPr>
      <p:sp>
        <p:nvSpPr>
          <p:cNvPr id="53" name="Freeform: Shape 52">
            <a:extLst>
              <a:ext uri="{FF2B5EF4-FFF2-40B4-BE49-F238E27FC236}">
                <a16:creationId xmlns:a16="http://schemas.microsoft.com/office/drawing/2014/main" id="{DBF9782B-CBFB-4BC8-9AA2-401E0D5D484F}"/>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nvGrpSpPr>
          <p:cNvPr id="32" name="Group 33"/>
          <p:cNvGrpSpPr>
            <a:grpSpLocks noChangeAspect="1"/>
          </p:cNvGrpSpPr>
          <p:nvPr/>
        </p:nvGrpSpPr>
        <p:grpSpPr bwMode="gray">
          <a:xfrm>
            <a:off x="7014468" y="236463"/>
            <a:ext cx="1779160" cy="259200"/>
            <a:chOff x="1430338" y="-1666875"/>
            <a:chExt cx="4968876" cy="723900"/>
          </a:xfrm>
          <a:solidFill>
            <a:srgbClr val="FFFFFF"/>
          </a:solidFill>
        </p:grpSpPr>
        <p:sp>
          <p:nvSpPr>
            <p:cNvPr id="34" name="Freeform 33"/>
            <p:cNvSpPr>
              <a:spLocks/>
            </p:cNvSpPr>
            <p:nvPr/>
          </p:nvSpPr>
          <p:spPr bwMode="gray">
            <a:xfrm>
              <a:off x="2705101" y="-1463675"/>
              <a:ext cx="447675" cy="509588"/>
            </a:xfrm>
            <a:custGeom>
              <a:avLst/>
              <a:gdLst/>
              <a:ahLst/>
              <a:cxnLst>
                <a:cxn ang="0">
                  <a:pos x="2" y="136"/>
                </a:cxn>
                <a:cxn ang="0">
                  <a:pos x="104" y="136"/>
                </a:cxn>
                <a:cxn ang="0">
                  <a:pos x="119" y="120"/>
                </a:cxn>
                <a:cxn ang="0">
                  <a:pos x="119" y="112"/>
                </a:cxn>
                <a:cxn ang="0">
                  <a:pos x="93" y="113"/>
                </a:cxn>
                <a:cxn ang="0">
                  <a:pos x="59" y="113"/>
                </a:cxn>
                <a:cxn ang="0">
                  <a:pos x="118" y="0"/>
                </a:cxn>
                <a:cxn ang="0">
                  <a:pos x="2" y="0"/>
                </a:cxn>
                <a:cxn ang="0">
                  <a:pos x="2" y="23"/>
                </a:cxn>
                <a:cxn ang="0">
                  <a:pos x="54" y="23"/>
                </a:cxn>
                <a:cxn ang="0">
                  <a:pos x="5" y="116"/>
                </a:cxn>
                <a:cxn ang="0">
                  <a:pos x="2" y="136"/>
                </a:cxn>
              </a:cxnLst>
              <a:rect l="0" t="0" r="r" b="b"/>
              <a:pathLst>
                <a:path w="119" h="136">
                  <a:moveTo>
                    <a:pt x="2" y="136"/>
                  </a:moveTo>
                  <a:cubicBezTo>
                    <a:pt x="104" y="136"/>
                    <a:pt x="104" y="136"/>
                    <a:pt x="104" y="136"/>
                  </a:cubicBezTo>
                  <a:cubicBezTo>
                    <a:pt x="113" y="136"/>
                    <a:pt x="119" y="129"/>
                    <a:pt x="119" y="120"/>
                  </a:cubicBezTo>
                  <a:cubicBezTo>
                    <a:pt x="119" y="112"/>
                    <a:pt x="119" y="112"/>
                    <a:pt x="119" y="112"/>
                  </a:cubicBezTo>
                  <a:cubicBezTo>
                    <a:pt x="115" y="113"/>
                    <a:pt x="107" y="113"/>
                    <a:pt x="93" y="113"/>
                  </a:cubicBezTo>
                  <a:cubicBezTo>
                    <a:pt x="59" y="113"/>
                    <a:pt x="59" y="113"/>
                    <a:pt x="59" y="113"/>
                  </a:cubicBezTo>
                  <a:cubicBezTo>
                    <a:pt x="118" y="0"/>
                    <a:pt x="118" y="0"/>
                    <a:pt x="118" y="0"/>
                  </a:cubicBezTo>
                  <a:cubicBezTo>
                    <a:pt x="2" y="0"/>
                    <a:pt x="2" y="0"/>
                    <a:pt x="2" y="0"/>
                  </a:cubicBezTo>
                  <a:cubicBezTo>
                    <a:pt x="2" y="23"/>
                    <a:pt x="2" y="23"/>
                    <a:pt x="2" y="23"/>
                  </a:cubicBezTo>
                  <a:cubicBezTo>
                    <a:pt x="54" y="23"/>
                    <a:pt x="54" y="23"/>
                    <a:pt x="54" y="23"/>
                  </a:cubicBezTo>
                  <a:cubicBezTo>
                    <a:pt x="5" y="116"/>
                    <a:pt x="5" y="116"/>
                    <a:pt x="5" y="116"/>
                  </a:cubicBezTo>
                  <a:cubicBezTo>
                    <a:pt x="1" y="124"/>
                    <a:pt x="0" y="131"/>
                    <a:pt x="2" y="13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5"/>
            <p:cNvSpPr>
              <a:spLocks/>
            </p:cNvSpPr>
            <p:nvPr/>
          </p:nvSpPr>
          <p:spPr bwMode="gray">
            <a:xfrm>
              <a:off x="2327276" y="-1463675"/>
              <a:ext cx="344488" cy="509588"/>
            </a:xfrm>
            <a:custGeom>
              <a:avLst/>
              <a:gdLst/>
              <a:ahLst/>
              <a:cxnLst>
                <a:cxn ang="0">
                  <a:pos x="0" y="64"/>
                </a:cxn>
                <a:cxn ang="0">
                  <a:pos x="27" y="115"/>
                </a:cxn>
                <a:cxn ang="0">
                  <a:pos x="54" y="136"/>
                </a:cxn>
                <a:cxn ang="0">
                  <a:pos x="92" y="136"/>
                </a:cxn>
                <a:cxn ang="0">
                  <a:pos x="84" y="124"/>
                </a:cxn>
                <a:cxn ang="0">
                  <a:pos x="46" y="53"/>
                </a:cxn>
                <a:cxn ang="0">
                  <a:pos x="91" y="0"/>
                </a:cxn>
                <a:cxn ang="0">
                  <a:pos x="50" y="0"/>
                </a:cxn>
                <a:cxn ang="0">
                  <a:pos x="0" y="64"/>
                </a:cxn>
              </a:cxnLst>
              <a:rect l="0" t="0" r="r" b="b"/>
              <a:pathLst>
                <a:path w="92" h="136">
                  <a:moveTo>
                    <a:pt x="0" y="64"/>
                  </a:moveTo>
                  <a:cubicBezTo>
                    <a:pt x="27" y="115"/>
                    <a:pt x="27" y="115"/>
                    <a:pt x="27" y="115"/>
                  </a:cubicBezTo>
                  <a:cubicBezTo>
                    <a:pt x="34" y="130"/>
                    <a:pt x="38" y="136"/>
                    <a:pt x="54" y="136"/>
                  </a:cubicBezTo>
                  <a:cubicBezTo>
                    <a:pt x="92" y="136"/>
                    <a:pt x="92" y="136"/>
                    <a:pt x="92" y="136"/>
                  </a:cubicBezTo>
                  <a:cubicBezTo>
                    <a:pt x="90" y="134"/>
                    <a:pt x="88" y="131"/>
                    <a:pt x="84" y="124"/>
                  </a:cubicBezTo>
                  <a:cubicBezTo>
                    <a:pt x="46" y="53"/>
                    <a:pt x="46" y="53"/>
                    <a:pt x="46" y="53"/>
                  </a:cubicBezTo>
                  <a:cubicBezTo>
                    <a:pt x="91" y="0"/>
                    <a:pt x="91" y="0"/>
                    <a:pt x="91" y="0"/>
                  </a:cubicBezTo>
                  <a:cubicBezTo>
                    <a:pt x="50" y="0"/>
                    <a:pt x="50" y="0"/>
                    <a:pt x="50" y="0"/>
                  </a:cubicBezTo>
                  <a:cubicBezTo>
                    <a:pt x="0" y="64"/>
                    <a:pt x="0" y="64"/>
                    <a:pt x="0"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6"/>
            <p:cNvSpPr>
              <a:spLocks/>
            </p:cNvSpPr>
            <p:nvPr/>
          </p:nvSpPr>
          <p:spPr bwMode="gray">
            <a:xfrm>
              <a:off x="2143126" y="-1666875"/>
              <a:ext cx="173038" cy="712788"/>
            </a:xfrm>
            <a:custGeom>
              <a:avLst/>
              <a:gdLst/>
              <a:ahLst/>
              <a:cxnLst>
                <a:cxn ang="0">
                  <a:pos x="0" y="190"/>
                </a:cxn>
                <a:cxn ang="0">
                  <a:pos x="46" y="190"/>
                </a:cxn>
                <a:cxn ang="0">
                  <a:pos x="46" y="28"/>
                </a:cxn>
                <a:cxn ang="0">
                  <a:pos x="17" y="0"/>
                </a:cxn>
                <a:cxn ang="0">
                  <a:pos x="0" y="0"/>
                </a:cxn>
                <a:cxn ang="0">
                  <a:pos x="0" y="190"/>
                </a:cxn>
              </a:cxnLst>
              <a:rect l="0" t="0" r="r" b="b"/>
              <a:pathLst>
                <a:path w="46" h="190">
                  <a:moveTo>
                    <a:pt x="0" y="190"/>
                  </a:moveTo>
                  <a:cubicBezTo>
                    <a:pt x="46" y="190"/>
                    <a:pt x="46" y="190"/>
                    <a:pt x="46" y="190"/>
                  </a:cubicBezTo>
                  <a:cubicBezTo>
                    <a:pt x="46" y="28"/>
                    <a:pt x="46" y="28"/>
                    <a:pt x="46" y="28"/>
                  </a:cubicBezTo>
                  <a:cubicBezTo>
                    <a:pt x="46" y="11"/>
                    <a:pt x="34" y="0"/>
                    <a:pt x="17"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7"/>
            <p:cNvSpPr>
              <a:spLocks noEditPoints="1"/>
            </p:cNvSpPr>
            <p:nvPr/>
          </p:nvSpPr>
          <p:spPr bwMode="gray">
            <a:xfrm>
              <a:off x="1430338" y="-1614488"/>
              <a:ext cx="652463" cy="660400"/>
            </a:xfrm>
            <a:custGeom>
              <a:avLst/>
              <a:gdLst/>
              <a:ahLst/>
              <a:cxnLst>
                <a:cxn ang="0">
                  <a:pos x="52" y="111"/>
                </a:cxn>
                <a:cxn ang="0">
                  <a:pos x="77" y="37"/>
                </a:cxn>
                <a:cxn ang="0">
                  <a:pos x="100" y="111"/>
                </a:cxn>
                <a:cxn ang="0">
                  <a:pos x="52" y="111"/>
                </a:cxn>
                <a:cxn ang="0">
                  <a:pos x="169" y="164"/>
                </a:cxn>
                <a:cxn ang="0">
                  <a:pos x="122" y="24"/>
                </a:cxn>
                <a:cxn ang="0">
                  <a:pos x="87" y="0"/>
                </a:cxn>
                <a:cxn ang="0">
                  <a:pos x="65" y="0"/>
                </a:cxn>
                <a:cxn ang="0">
                  <a:pos x="0" y="176"/>
                </a:cxn>
                <a:cxn ang="0">
                  <a:pos x="29" y="176"/>
                </a:cxn>
                <a:cxn ang="0">
                  <a:pos x="44" y="133"/>
                </a:cxn>
                <a:cxn ang="0">
                  <a:pos x="107" y="133"/>
                </a:cxn>
                <a:cxn ang="0">
                  <a:pos x="116" y="161"/>
                </a:cxn>
                <a:cxn ang="0">
                  <a:pos x="135" y="176"/>
                </a:cxn>
                <a:cxn ang="0">
                  <a:pos x="174" y="176"/>
                </a:cxn>
                <a:cxn ang="0">
                  <a:pos x="169" y="164"/>
                </a:cxn>
              </a:cxnLst>
              <a:rect l="0" t="0" r="r" b="b"/>
              <a:pathLst>
                <a:path w="174" h="176">
                  <a:moveTo>
                    <a:pt x="52" y="111"/>
                  </a:moveTo>
                  <a:cubicBezTo>
                    <a:pt x="77" y="37"/>
                    <a:pt x="77" y="37"/>
                    <a:pt x="77" y="37"/>
                  </a:cubicBezTo>
                  <a:cubicBezTo>
                    <a:pt x="100" y="111"/>
                    <a:pt x="100" y="111"/>
                    <a:pt x="100" y="111"/>
                  </a:cubicBezTo>
                  <a:cubicBezTo>
                    <a:pt x="52" y="111"/>
                    <a:pt x="52" y="111"/>
                    <a:pt x="52" y="111"/>
                  </a:cubicBezTo>
                  <a:close/>
                  <a:moveTo>
                    <a:pt x="169" y="164"/>
                  </a:moveTo>
                  <a:cubicBezTo>
                    <a:pt x="122" y="24"/>
                    <a:pt x="122" y="24"/>
                    <a:pt x="122" y="24"/>
                  </a:cubicBezTo>
                  <a:cubicBezTo>
                    <a:pt x="116" y="8"/>
                    <a:pt x="110" y="0"/>
                    <a:pt x="87" y="0"/>
                  </a:cubicBezTo>
                  <a:cubicBezTo>
                    <a:pt x="65" y="0"/>
                    <a:pt x="65" y="0"/>
                    <a:pt x="65" y="0"/>
                  </a:cubicBezTo>
                  <a:cubicBezTo>
                    <a:pt x="0" y="176"/>
                    <a:pt x="0" y="176"/>
                    <a:pt x="0" y="176"/>
                  </a:cubicBezTo>
                  <a:cubicBezTo>
                    <a:pt x="29" y="176"/>
                    <a:pt x="29" y="176"/>
                    <a:pt x="29" y="176"/>
                  </a:cubicBezTo>
                  <a:cubicBezTo>
                    <a:pt x="44" y="133"/>
                    <a:pt x="44" y="133"/>
                    <a:pt x="44" y="133"/>
                  </a:cubicBezTo>
                  <a:cubicBezTo>
                    <a:pt x="107" y="133"/>
                    <a:pt x="107" y="133"/>
                    <a:pt x="107" y="133"/>
                  </a:cubicBezTo>
                  <a:cubicBezTo>
                    <a:pt x="116" y="161"/>
                    <a:pt x="116" y="161"/>
                    <a:pt x="116" y="161"/>
                  </a:cubicBezTo>
                  <a:cubicBezTo>
                    <a:pt x="120" y="171"/>
                    <a:pt x="124" y="176"/>
                    <a:pt x="135" y="176"/>
                  </a:cubicBezTo>
                  <a:cubicBezTo>
                    <a:pt x="174" y="176"/>
                    <a:pt x="174" y="176"/>
                    <a:pt x="174" y="176"/>
                  </a:cubicBezTo>
                  <a:cubicBezTo>
                    <a:pt x="173" y="174"/>
                    <a:pt x="171" y="171"/>
                    <a:pt x="169" y="1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8"/>
            <p:cNvSpPr>
              <a:spLocks noEditPoints="1"/>
            </p:cNvSpPr>
            <p:nvPr/>
          </p:nvSpPr>
          <p:spPr bwMode="gray">
            <a:xfrm>
              <a:off x="3181351" y="-1474788"/>
              <a:ext cx="541338" cy="531813"/>
            </a:xfrm>
            <a:custGeom>
              <a:avLst/>
              <a:gdLst/>
              <a:ahLst/>
              <a:cxnLst>
                <a:cxn ang="0">
                  <a:pos x="72" y="117"/>
                </a:cxn>
                <a:cxn ang="0">
                  <a:pos x="51" y="70"/>
                </a:cxn>
                <a:cxn ang="0">
                  <a:pos x="72" y="24"/>
                </a:cxn>
                <a:cxn ang="0">
                  <a:pos x="93" y="73"/>
                </a:cxn>
                <a:cxn ang="0">
                  <a:pos x="72" y="117"/>
                </a:cxn>
                <a:cxn ang="0">
                  <a:pos x="72" y="142"/>
                </a:cxn>
                <a:cxn ang="0">
                  <a:pos x="144" y="68"/>
                </a:cxn>
                <a:cxn ang="0">
                  <a:pos x="73" y="0"/>
                </a:cxn>
                <a:cxn ang="0">
                  <a:pos x="0" y="75"/>
                </a:cxn>
                <a:cxn ang="0">
                  <a:pos x="72" y="142"/>
                </a:cxn>
              </a:cxnLst>
              <a:rect l="0" t="0" r="r" b="b"/>
              <a:pathLst>
                <a:path w="144" h="142">
                  <a:moveTo>
                    <a:pt x="72" y="117"/>
                  </a:moveTo>
                  <a:cubicBezTo>
                    <a:pt x="56" y="117"/>
                    <a:pt x="51" y="99"/>
                    <a:pt x="51" y="70"/>
                  </a:cubicBezTo>
                  <a:cubicBezTo>
                    <a:pt x="51" y="43"/>
                    <a:pt x="56" y="24"/>
                    <a:pt x="72" y="24"/>
                  </a:cubicBezTo>
                  <a:cubicBezTo>
                    <a:pt x="88" y="24"/>
                    <a:pt x="93" y="44"/>
                    <a:pt x="93" y="73"/>
                  </a:cubicBezTo>
                  <a:cubicBezTo>
                    <a:pt x="93" y="100"/>
                    <a:pt x="88" y="117"/>
                    <a:pt x="72" y="117"/>
                  </a:cubicBezTo>
                  <a:moveTo>
                    <a:pt x="72" y="142"/>
                  </a:moveTo>
                  <a:cubicBezTo>
                    <a:pt x="111" y="142"/>
                    <a:pt x="144" y="114"/>
                    <a:pt x="144" y="68"/>
                  </a:cubicBezTo>
                  <a:cubicBezTo>
                    <a:pt x="144" y="29"/>
                    <a:pt x="112" y="0"/>
                    <a:pt x="73" y="0"/>
                  </a:cubicBezTo>
                  <a:cubicBezTo>
                    <a:pt x="33" y="0"/>
                    <a:pt x="0" y="28"/>
                    <a:pt x="0" y="75"/>
                  </a:cubicBezTo>
                  <a:cubicBezTo>
                    <a:pt x="0" y="115"/>
                    <a:pt x="33" y="142"/>
                    <a:pt x="72"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9"/>
            <p:cNvSpPr>
              <a:spLocks/>
            </p:cNvSpPr>
            <p:nvPr/>
          </p:nvSpPr>
          <p:spPr bwMode="gray">
            <a:xfrm>
              <a:off x="3800476" y="-1617663"/>
              <a:ext cx="577850" cy="663575"/>
            </a:xfrm>
            <a:custGeom>
              <a:avLst/>
              <a:gdLst/>
              <a:ahLst/>
              <a:cxnLst>
                <a:cxn ang="0">
                  <a:pos x="0" y="177"/>
                </a:cxn>
                <a:cxn ang="0">
                  <a:pos x="30" y="177"/>
                </a:cxn>
                <a:cxn ang="0">
                  <a:pos x="30" y="65"/>
                </a:cxn>
                <a:cxn ang="0">
                  <a:pos x="104" y="154"/>
                </a:cxn>
                <a:cxn ang="0">
                  <a:pos x="133" y="177"/>
                </a:cxn>
                <a:cxn ang="0">
                  <a:pos x="154" y="177"/>
                </a:cxn>
                <a:cxn ang="0">
                  <a:pos x="154" y="16"/>
                </a:cxn>
                <a:cxn ang="0">
                  <a:pos x="138" y="0"/>
                </a:cxn>
                <a:cxn ang="0">
                  <a:pos x="125" y="0"/>
                </a:cxn>
                <a:cxn ang="0">
                  <a:pos x="125" y="107"/>
                </a:cxn>
                <a:cxn ang="0">
                  <a:pos x="54" y="21"/>
                </a:cxn>
                <a:cxn ang="0">
                  <a:pos x="22" y="0"/>
                </a:cxn>
                <a:cxn ang="0">
                  <a:pos x="0" y="0"/>
                </a:cxn>
                <a:cxn ang="0">
                  <a:pos x="0" y="177"/>
                </a:cxn>
              </a:cxnLst>
              <a:rect l="0" t="0" r="r" b="b"/>
              <a:pathLst>
                <a:path w="154" h="177">
                  <a:moveTo>
                    <a:pt x="0" y="177"/>
                  </a:moveTo>
                  <a:cubicBezTo>
                    <a:pt x="30" y="177"/>
                    <a:pt x="30" y="177"/>
                    <a:pt x="30" y="177"/>
                  </a:cubicBezTo>
                  <a:cubicBezTo>
                    <a:pt x="30" y="65"/>
                    <a:pt x="30" y="65"/>
                    <a:pt x="30" y="65"/>
                  </a:cubicBezTo>
                  <a:cubicBezTo>
                    <a:pt x="104" y="154"/>
                    <a:pt x="104" y="154"/>
                    <a:pt x="104" y="154"/>
                  </a:cubicBezTo>
                  <a:cubicBezTo>
                    <a:pt x="115" y="167"/>
                    <a:pt x="122" y="177"/>
                    <a:pt x="133" y="177"/>
                  </a:cubicBezTo>
                  <a:cubicBezTo>
                    <a:pt x="154" y="177"/>
                    <a:pt x="154" y="177"/>
                    <a:pt x="154" y="177"/>
                  </a:cubicBezTo>
                  <a:cubicBezTo>
                    <a:pt x="154" y="16"/>
                    <a:pt x="154" y="16"/>
                    <a:pt x="154" y="16"/>
                  </a:cubicBezTo>
                  <a:cubicBezTo>
                    <a:pt x="154" y="6"/>
                    <a:pt x="148" y="0"/>
                    <a:pt x="138" y="0"/>
                  </a:cubicBezTo>
                  <a:cubicBezTo>
                    <a:pt x="125" y="0"/>
                    <a:pt x="125" y="0"/>
                    <a:pt x="125" y="0"/>
                  </a:cubicBezTo>
                  <a:cubicBezTo>
                    <a:pt x="125" y="107"/>
                    <a:pt x="125" y="107"/>
                    <a:pt x="125" y="107"/>
                  </a:cubicBezTo>
                  <a:cubicBezTo>
                    <a:pt x="54" y="21"/>
                    <a:pt x="54" y="21"/>
                    <a:pt x="54" y="21"/>
                  </a:cubicBezTo>
                  <a:cubicBezTo>
                    <a:pt x="43" y="8"/>
                    <a:pt x="37" y="0"/>
                    <a:pt x="22" y="0"/>
                  </a:cubicBezTo>
                  <a:cubicBezTo>
                    <a:pt x="0" y="0"/>
                    <a:pt x="0" y="0"/>
                    <a:pt x="0" y="0"/>
                  </a:cubicBezTo>
                  <a:cubicBezTo>
                    <a:pt x="0" y="177"/>
                    <a:pt x="0" y="177"/>
                    <a:pt x="0" y="1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30"/>
            <p:cNvSpPr>
              <a:spLocks noEditPoints="1"/>
            </p:cNvSpPr>
            <p:nvPr/>
          </p:nvSpPr>
          <p:spPr bwMode="gray">
            <a:xfrm>
              <a:off x="4456113" y="-1474788"/>
              <a:ext cx="536575" cy="531813"/>
            </a:xfrm>
            <a:custGeom>
              <a:avLst/>
              <a:gdLst/>
              <a:ahLst/>
              <a:cxnLst>
                <a:cxn ang="0">
                  <a:pos x="72" y="117"/>
                </a:cxn>
                <a:cxn ang="0">
                  <a:pos x="50" y="70"/>
                </a:cxn>
                <a:cxn ang="0">
                  <a:pos x="72" y="24"/>
                </a:cxn>
                <a:cxn ang="0">
                  <a:pos x="93" y="73"/>
                </a:cxn>
                <a:cxn ang="0">
                  <a:pos x="72" y="117"/>
                </a:cxn>
                <a:cxn ang="0">
                  <a:pos x="71" y="142"/>
                </a:cxn>
                <a:cxn ang="0">
                  <a:pos x="143" y="68"/>
                </a:cxn>
                <a:cxn ang="0">
                  <a:pos x="72" y="0"/>
                </a:cxn>
                <a:cxn ang="0">
                  <a:pos x="0" y="75"/>
                </a:cxn>
                <a:cxn ang="0">
                  <a:pos x="71" y="142"/>
                </a:cxn>
              </a:cxnLst>
              <a:rect l="0" t="0" r="r" b="b"/>
              <a:pathLst>
                <a:path w="143" h="142">
                  <a:moveTo>
                    <a:pt x="72" y="117"/>
                  </a:moveTo>
                  <a:cubicBezTo>
                    <a:pt x="56" y="117"/>
                    <a:pt x="50" y="99"/>
                    <a:pt x="50" y="70"/>
                  </a:cubicBezTo>
                  <a:cubicBezTo>
                    <a:pt x="50" y="43"/>
                    <a:pt x="56" y="24"/>
                    <a:pt x="72" y="24"/>
                  </a:cubicBezTo>
                  <a:cubicBezTo>
                    <a:pt x="88" y="24"/>
                    <a:pt x="93" y="44"/>
                    <a:pt x="93" y="73"/>
                  </a:cubicBezTo>
                  <a:cubicBezTo>
                    <a:pt x="93" y="100"/>
                    <a:pt x="88" y="117"/>
                    <a:pt x="72" y="117"/>
                  </a:cubicBezTo>
                  <a:moveTo>
                    <a:pt x="71" y="142"/>
                  </a:moveTo>
                  <a:cubicBezTo>
                    <a:pt x="110" y="142"/>
                    <a:pt x="143" y="114"/>
                    <a:pt x="143" y="68"/>
                  </a:cubicBezTo>
                  <a:cubicBezTo>
                    <a:pt x="143" y="29"/>
                    <a:pt x="112" y="0"/>
                    <a:pt x="72" y="0"/>
                  </a:cubicBezTo>
                  <a:cubicBezTo>
                    <a:pt x="32" y="0"/>
                    <a:pt x="0" y="28"/>
                    <a:pt x="0" y="75"/>
                  </a:cubicBezTo>
                  <a:cubicBezTo>
                    <a:pt x="0" y="115"/>
                    <a:pt x="32" y="142"/>
                    <a:pt x="71"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31"/>
            <p:cNvSpPr>
              <a:spLocks noEditPoints="1"/>
            </p:cNvSpPr>
            <p:nvPr/>
          </p:nvSpPr>
          <p:spPr bwMode="gray">
            <a:xfrm>
              <a:off x="5645151" y="-1474788"/>
              <a:ext cx="506413" cy="531813"/>
            </a:xfrm>
            <a:custGeom>
              <a:avLst/>
              <a:gdLst/>
              <a:ahLst/>
              <a:cxnLst>
                <a:cxn ang="0">
                  <a:pos x="47" y="55"/>
                </a:cxn>
                <a:cxn ang="0">
                  <a:pos x="69" y="22"/>
                </a:cxn>
                <a:cxn ang="0">
                  <a:pos x="91" y="55"/>
                </a:cxn>
                <a:cxn ang="0">
                  <a:pos x="47" y="55"/>
                </a:cxn>
                <a:cxn ang="0">
                  <a:pos x="134" y="74"/>
                </a:cxn>
                <a:cxn ang="0">
                  <a:pos x="135" y="58"/>
                </a:cxn>
                <a:cxn ang="0">
                  <a:pos x="70" y="0"/>
                </a:cxn>
                <a:cxn ang="0">
                  <a:pos x="0" y="71"/>
                </a:cxn>
                <a:cxn ang="0">
                  <a:pos x="68" y="142"/>
                </a:cxn>
                <a:cxn ang="0">
                  <a:pos x="127" y="99"/>
                </a:cxn>
                <a:cxn ang="0">
                  <a:pos x="88" y="109"/>
                </a:cxn>
                <a:cxn ang="0">
                  <a:pos x="47" y="74"/>
                </a:cxn>
                <a:cxn ang="0">
                  <a:pos x="134" y="74"/>
                </a:cxn>
              </a:cxnLst>
              <a:rect l="0" t="0" r="r" b="b"/>
              <a:pathLst>
                <a:path w="135" h="142">
                  <a:moveTo>
                    <a:pt x="47" y="55"/>
                  </a:moveTo>
                  <a:cubicBezTo>
                    <a:pt x="48" y="35"/>
                    <a:pt x="56" y="22"/>
                    <a:pt x="69" y="22"/>
                  </a:cubicBezTo>
                  <a:cubicBezTo>
                    <a:pt x="88" y="22"/>
                    <a:pt x="91" y="55"/>
                    <a:pt x="91" y="55"/>
                  </a:cubicBezTo>
                  <a:cubicBezTo>
                    <a:pt x="47" y="55"/>
                    <a:pt x="47" y="55"/>
                    <a:pt x="47" y="55"/>
                  </a:cubicBezTo>
                  <a:close/>
                  <a:moveTo>
                    <a:pt x="134" y="74"/>
                  </a:moveTo>
                  <a:cubicBezTo>
                    <a:pt x="135" y="68"/>
                    <a:pt x="135" y="63"/>
                    <a:pt x="135" y="58"/>
                  </a:cubicBezTo>
                  <a:cubicBezTo>
                    <a:pt x="135" y="26"/>
                    <a:pt x="111" y="0"/>
                    <a:pt x="70" y="0"/>
                  </a:cubicBezTo>
                  <a:cubicBezTo>
                    <a:pt x="29" y="0"/>
                    <a:pt x="0" y="28"/>
                    <a:pt x="0" y="71"/>
                  </a:cubicBezTo>
                  <a:cubicBezTo>
                    <a:pt x="0" y="113"/>
                    <a:pt x="26" y="142"/>
                    <a:pt x="68" y="142"/>
                  </a:cubicBezTo>
                  <a:cubicBezTo>
                    <a:pt x="111" y="142"/>
                    <a:pt x="126" y="120"/>
                    <a:pt x="127" y="99"/>
                  </a:cubicBezTo>
                  <a:cubicBezTo>
                    <a:pt x="118" y="105"/>
                    <a:pt x="104" y="109"/>
                    <a:pt x="88" y="109"/>
                  </a:cubicBezTo>
                  <a:cubicBezTo>
                    <a:pt x="65" y="109"/>
                    <a:pt x="49" y="96"/>
                    <a:pt x="47" y="74"/>
                  </a:cubicBezTo>
                  <a:cubicBezTo>
                    <a:pt x="134" y="74"/>
                    <a:pt x="134" y="74"/>
                    <a:pt x="134"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32"/>
            <p:cNvSpPr>
              <a:spLocks noEditPoints="1"/>
            </p:cNvSpPr>
            <p:nvPr/>
          </p:nvSpPr>
          <p:spPr bwMode="gray">
            <a:xfrm>
              <a:off x="5072063" y="-1666875"/>
              <a:ext cx="509588" cy="712788"/>
            </a:xfrm>
            <a:custGeom>
              <a:avLst/>
              <a:gdLst/>
              <a:ahLst/>
              <a:cxnLst>
                <a:cxn ang="0">
                  <a:pos x="54" y="167"/>
                </a:cxn>
                <a:cxn ang="0">
                  <a:pos x="46" y="167"/>
                </a:cxn>
                <a:cxn ang="0">
                  <a:pos x="46" y="80"/>
                </a:cxn>
                <a:cxn ang="0">
                  <a:pos x="57" y="79"/>
                </a:cxn>
                <a:cxn ang="0">
                  <a:pos x="88" y="117"/>
                </a:cxn>
                <a:cxn ang="0">
                  <a:pos x="54" y="167"/>
                </a:cxn>
                <a:cxn ang="0">
                  <a:pos x="82" y="52"/>
                </a:cxn>
                <a:cxn ang="0">
                  <a:pos x="46" y="65"/>
                </a:cxn>
                <a:cxn ang="0">
                  <a:pos x="46" y="28"/>
                </a:cxn>
                <a:cxn ang="0">
                  <a:pos x="17" y="0"/>
                </a:cxn>
                <a:cxn ang="0">
                  <a:pos x="0" y="0"/>
                </a:cxn>
                <a:cxn ang="0">
                  <a:pos x="0" y="190"/>
                </a:cxn>
                <a:cxn ang="0">
                  <a:pos x="55" y="190"/>
                </a:cxn>
                <a:cxn ang="0">
                  <a:pos x="136" y="112"/>
                </a:cxn>
                <a:cxn ang="0">
                  <a:pos x="82" y="52"/>
                </a:cxn>
              </a:cxnLst>
              <a:rect l="0" t="0" r="r" b="b"/>
              <a:pathLst>
                <a:path w="136" h="190">
                  <a:moveTo>
                    <a:pt x="54" y="167"/>
                  </a:moveTo>
                  <a:cubicBezTo>
                    <a:pt x="46" y="167"/>
                    <a:pt x="46" y="167"/>
                    <a:pt x="46" y="167"/>
                  </a:cubicBezTo>
                  <a:cubicBezTo>
                    <a:pt x="46" y="80"/>
                    <a:pt x="46" y="80"/>
                    <a:pt x="46" y="80"/>
                  </a:cubicBezTo>
                  <a:cubicBezTo>
                    <a:pt x="49" y="79"/>
                    <a:pt x="52" y="79"/>
                    <a:pt x="57" y="79"/>
                  </a:cubicBezTo>
                  <a:cubicBezTo>
                    <a:pt x="74" y="79"/>
                    <a:pt x="88" y="95"/>
                    <a:pt x="88" y="117"/>
                  </a:cubicBezTo>
                  <a:cubicBezTo>
                    <a:pt x="88" y="150"/>
                    <a:pt x="76" y="167"/>
                    <a:pt x="54" y="167"/>
                  </a:cubicBezTo>
                  <a:close/>
                  <a:moveTo>
                    <a:pt x="82" y="52"/>
                  </a:moveTo>
                  <a:cubicBezTo>
                    <a:pt x="66" y="52"/>
                    <a:pt x="53" y="58"/>
                    <a:pt x="46" y="65"/>
                  </a:cubicBezTo>
                  <a:cubicBezTo>
                    <a:pt x="46" y="28"/>
                    <a:pt x="46" y="28"/>
                    <a:pt x="46" y="28"/>
                  </a:cubicBezTo>
                  <a:cubicBezTo>
                    <a:pt x="46" y="11"/>
                    <a:pt x="34" y="0"/>
                    <a:pt x="17" y="0"/>
                  </a:cubicBezTo>
                  <a:cubicBezTo>
                    <a:pt x="0" y="0"/>
                    <a:pt x="0" y="0"/>
                    <a:pt x="0" y="0"/>
                  </a:cubicBezTo>
                  <a:cubicBezTo>
                    <a:pt x="0" y="190"/>
                    <a:pt x="0" y="190"/>
                    <a:pt x="0" y="190"/>
                  </a:cubicBezTo>
                  <a:cubicBezTo>
                    <a:pt x="55" y="190"/>
                    <a:pt x="55" y="190"/>
                    <a:pt x="55" y="190"/>
                  </a:cubicBezTo>
                  <a:cubicBezTo>
                    <a:pt x="107" y="190"/>
                    <a:pt x="136" y="163"/>
                    <a:pt x="136" y="112"/>
                  </a:cubicBezTo>
                  <a:cubicBezTo>
                    <a:pt x="136" y="78"/>
                    <a:pt x="113" y="52"/>
                    <a:pt x="82" y="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33"/>
            <p:cNvSpPr>
              <a:spLocks/>
            </p:cNvSpPr>
            <p:nvPr/>
          </p:nvSpPr>
          <p:spPr bwMode="gray">
            <a:xfrm>
              <a:off x="6223001" y="-1666875"/>
              <a:ext cx="176213" cy="712788"/>
            </a:xfrm>
            <a:custGeom>
              <a:avLst/>
              <a:gdLst/>
              <a:ahLst/>
              <a:cxnLst>
                <a:cxn ang="0">
                  <a:pos x="0" y="190"/>
                </a:cxn>
                <a:cxn ang="0">
                  <a:pos x="47" y="190"/>
                </a:cxn>
                <a:cxn ang="0">
                  <a:pos x="47" y="28"/>
                </a:cxn>
                <a:cxn ang="0">
                  <a:pos x="18" y="0"/>
                </a:cxn>
                <a:cxn ang="0">
                  <a:pos x="0" y="0"/>
                </a:cxn>
                <a:cxn ang="0">
                  <a:pos x="0" y="190"/>
                </a:cxn>
              </a:cxnLst>
              <a:rect l="0" t="0" r="r" b="b"/>
              <a:pathLst>
                <a:path w="47" h="190">
                  <a:moveTo>
                    <a:pt x="0" y="190"/>
                  </a:moveTo>
                  <a:cubicBezTo>
                    <a:pt x="47" y="190"/>
                    <a:pt x="47" y="190"/>
                    <a:pt x="47" y="190"/>
                  </a:cubicBezTo>
                  <a:cubicBezTo>
                    <a:pt x="47" y="28"/>
                    <a:pt x="47" y="28"/>
                    <a:pt x="47" y="28"/>
                  </a:cubicBezTo>
                  <a:cubicBezTo>
                    <a:pt x="47" y="11"/>
                    <a:pt x="35" y="0"/>
                    <a:pt x="18"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8" name="Picture Placeholder 57"/>
          <p:cNvSpPr>
            <a:spLocks noGrp="1"/>
          </p:cNvSpPr>
          <p:nvPr>
            <p:ph type="pic" sz="quarter" idx="17"/>
          </p:nvPr>
        </p:nvSpPr>
        <p:spPr bwMode="gray">
          <a:xfrm>
            <a:off x="1" y="-900"/>
            <a:ext cx="9143999" cy="5144400"/>
          </a:xfrm>
          <a:custGeom>
            <a:avLst/>
            <a:gdLst>
              <a:gd name="connsiteX0" fmla="*/ 8398022 w 9143999"/>
              <a:gd name="connsiteY0" fmla="*/ 345388 h 5144400"/>
              <a:gd name="connsiteX1" fmla="*/ 8441303 w 9143999"/>
              <a:gd name="connsiteY1" fmla="*/ 397979 h 5144400"/>
              <a:gd name="connsiteX2" fmla="*/ 8391839 w 9143999"/>
              <a:gd name="connsiteY2" fmla="*/ 466038 h 5144400"/>
              <a:gd name="connsiteX3" fmla="*/ 8382565 w 9143999"/>
              <a:gd name="connsiteY3" fmla="*/ 466038 h 5144400"/>
              <a:gd name="connsiteX4" fmla="*/ 8382565 w 9143999"/>
              <a:gd name="connsiteY4" fmla="*/ 348482 h 5144400"/>
              <a:gd name="connsiteX5" fmla="*/ 8398022 w 9143999"/>
              <a:gd name="connsiteY5" fmla="*/ 345388 h 5144400"/>
              <a:gd name="connsiteX6" fmla="*/ 8194405 w 9143999"/>
              <a:gd name="connsiteY6" fmla="*/ 339038 h 5144400"/>
              <a:gd name="connsiteX7" fmla="*/ 8222228 w 9143999"/>
              <a:gd name="connsiteY7" fmla="*/ 404046 h 5144400"/>
              <a:gd name="connsiteX8" fmla="*/ 8194405 w 9143999"/>
              <a:gd name="connsiteY8" fmla="*/ 462863 h 5144400"/>
              <a:gd name="connsiteX9" fmla="*/ 8163490 w 9143999"/>
              <a:gd name="connsiteY9" fmla="*/ 400951 h 5144400"/>
              <a:gd name="connsiteX10" fmla="*/ 8194405 w 9143999"/>
              <a:gd name="connsiteY10" fmla="*/ 339038 h 5144400"/>
              <a:gd name="connsiteX11" fmla="*/ 7739627 w 9143999"/>
              <a:gd name="connsiteY11" fmla="*/ 339038 h 5144400"/>
              <a:gd name="connsiteX12" fmla="*/ 7768202 w 9143999"/>
              <a:gd name="connsiteY12" fmla="*/ 404046 h 5144400"/>
              <a:gd name="connsiteX13" fmla="*/ 7739627 w 9143999"/>
              <a:gd name="connsiteY13" fmla="*/ 462863 h 5144400"/>
              <a:gd name="connsiteX14" fmla="*/ 7711052 w 9143999"/>
              <a:gd name="connsiteY14" fmla="*/ 400951 h 5144400"/>
              <a:gd name="connsiteX15" fmla="*/ 7739627 w 9143999"/>
              <a:gd name="connsiteY15" fmla="*/ 339038 h 5144400"/>
              <a:gd name="connsiteX16" fmla="*/ 8619102 w 9143999"/>
              <a:gd name="connsiteY16" fmla="*/ 335863 h 5144400"/>
              <a:gd name="connsiteX17" fmla="*/ 8650852 w 9143999"/>
              <a:gd name="connsiteY17" fmla="*/ 378725 h 5144400"/>
              <a:gd name="connsiteX18" fmla="*/ 8590527 w 9143999"/>
              <a:gd name="connsiteY18" fmla="*/ 378725 h 5144400"/>
              <a:gd name="connsiteX19" fmla="*/ 8619102 w 9143999"/>
              <a:gd name="connsiteY19" fmla="*/ 335863 h 5144400"/>
              <a:gd name="connsiteX20" fmla="*/ 7121217 w 9143999"/>
              <a:gd name="connsiteY20" fmla="*/ 308875 h 5144400"/>
              <a:gd name="connsiteX21" fmla="*/ 7149078 w 9143999"/>
              <a:gd name="connsiteY21" fmla="*/ 410475 h 5144400"/>
              <a:gd name="connsiteX22" fmla="*/ 7087165 w 9143999"/>
              <a:gd name="connsiteY22" fmla="*/ 410475 h 5144400"/>
              <a:gd name="connsiteX23" fmla="*/ 7121217 w 9143999"/>
              <a:gd name="connsiteY23" fmla="*/ 308875 h 5144400"/>
              <a:gd name="connsiteX24" fmla="*/ 7471280 w 9143999"/>
              <a:gd name="connsiteY24" fmla="*/ 305701 h 5144400"/>
              <a:gd name="connsiteX25" fmla="*/ 7471280 w 9143999"/>
              <a:gd name="connsiteY25" fmla="*/ 336410 h 5144400"/>
              <a:gd name="connsiteX26" fmla="*/ 7539787 w 9143999"/>
              <a:gd name="connsiteY26" fmla="*/ 336410 h 5144400"/>
              <a:gd name="connsiteX27" fmla="*/ 7474394 w 9143999"/>
              <a:gd name="connsiteY27" fmla="*/ 465388 h 5144400"/>
              <a:gd name="connsiteX28" fmla="*/ 7471280 w 9143999"/>
              <a:gd name="connsiteY28" fmla="*/ 493026 h 5144400"/>
              <a:gd name="connsiteX29" fmla="*/ 7608294 w 9143999"/>
              <a:gd name="connsiteY29" fmla="*/ 493026 h 5144400"/>
              <a:gd name="connsiteX30" fmla="*/ 7630091 w 9143999"/>
              <a:gd name="connsiteY30" fmla="*/ 471529 h 5144400"/>
              <a:gd name="connsiteX31" fmla="*/ 7630091 w 9143999"/>
              <a:gd name="connsiteY31" fmla="*/ 459246 h 5144400"/>
              <a:gd name="connsiteX32" fmla="*/ 7592724 w 9143999"/>
              <a:gd name="connsiteY32" fmla="*/ 462317 h 5144400"/>
              <a:gd name="connsiteX33" fmla="*/ 7549129 w 9143999"/>
              <a:gd name="connsiteY33" fmla="*/ 462317 h 5144400"/>
              <a:gd name="connsiteX34" fmla="*/ 7626977 w 9143999"/>
              <a:gd name="connsiteY34" fmla="*/ 305701 h 5144400"/>
              <a:gd name="connsiteX35" fmla="*/ 7471280 w 9143999"/>
              <a:gd name="connsiteY35" fmla="*/ 305701 h 5144400"/>
              <a:gd name="connsiteX36" fmla="*/ 8622169 w 9143999"/>
              <a:gd name="connsiteY36" fmla="*/ 305700 h 5144400"/>
              <a:gd name="connsiteX37" fmla="*/ 8525441 w 9143999"/>
              <a:gd name="connsiteY37" fmla="*/ 397827 h 5144400"/>
              <a:gd name="connsiteX38" fmla="*/ 8619049 w 9143999"/>
              <a:gd name="connsiteY38" fmla="*/ 493025 h 5144400"/>
              <a:gd name="connsiteX39" fmla="*/ 8697055 w 9143999"/>
              <a:gd name="connsiteY39" fmla="*/ 434678 h 5144400"/>
              <a:gd name="connsiteX40" fmla="*/ 8644011 w 9143999"/>
              <a:gd name="connsiteY40" fmla="*/ 450033 h 5144400"/>
              <a:gd name="connsiteX41" fmla="*/ 8590966 w 9143999"/>
              <a:gd name="connsiteY41" fmla="*/ 403969 h 5144400"/>
              <a:gd name="connsiteX42" fmla="*/ 8706416 w 9143999"/>
              <a:gd name="connsiteY42" fmla="*/ 403969 h 5144400"/>
              <a:gd name="connsiteX43" fmla="*/ 8706416 w 9143999"/>
              <a:gd name="connsiteY43" fmla="*/ 382473 h 5144400"/>
              <a:gd name="connsiteX44" fmla="*/ 8622169 w 9143999"/>
              <a:gd name="connsiteY44" fmla="*/ 305700 h 5144400"/>
              <a:gd name="connsiteX45" fmla="*/ 8195215 w 9143999"/>
              <a:gd name="connsiteY45" fmla="*/ 305700 h 5144400"/>
              <a:gd name="connsiteX46" fmla="*/ 8098403 w 9143999"/>
              <a:gd name="connsiteY46" fmla="*/ 403969 h 5144400"/>
              <a:gd name="connsiteX47" fmla="*/ 8192092 w 9143999"/>
              <a:gd name="connsiteY47" fmla="*/ 493025 h 5144400"/>
              <a:gd name="connsiteX48" fmla="*/ 8288903 w 9143999"/>
              <a:gd name="connsiteY48" fmla="*/ 394756 h 5144400"/>
              <a:gd name="connsiteX49" fmla="*/ 8195215 w 9143999"/>
              <a:gd name="connsiteY49" fmla="*/ 305700 h 5144400"/>
              <a:gd name="connsiteX50" fmla="*/ 7739629 w 9143999"/>
              <a:gd name="connsiteY50" fmla="*/ 305700 h 5144400"/>
              <a:gd name="connsiteX51" fmla="*/ 7639616 w 9143999"/>
              <a:gd name="connsiteY51" fmla="*/ 403969 h 5144400"/>
              <a:gd name="connsiteX52" fmla="*/ 7739629 w 9143999"/>
              <a:gd name="connsiteY52" fmla="*/ 493025 h 5144400"/>
              <a:gd name="connsiteX53" fmla="*/ 7839641 w 9143999"/>
              <a:gd name="connsiteY53" fmla="*/ 394757 h 5144400"/>
              <a:gd name="connsiteX54" fmla="*/ 7739629 w 9143999"/>
              <a:gd name="connsiteY54" fmla="*/ 305700 h 5144400"/>
              <a:gd name="connsiteX55" fmla="*/ 7102867 w 9143999"/>
              <a:gd name="connsiteY55" fmla="*/ 256489 h 5144400"/>
              <a:gd name="connsiteX56" fmla="*/ 7018903 w 9143999"/>
              <a:gd name="connsiteY56" fmla="*/ 493026 h 5144400"/>
              <a:gd name="connsiteX57" fmla="*/ 7056220 w 9143999"/>
              <a:gd name="connsiteY57" fmla="*/ 493026 h 5144400"/>
              <a:gd name="connsiteX58" fmla="*/ 7077989 w 9143999"/>
              <a:gd name="connsiteY58" fmla="*/ 434659 h 5144400"/>
              <a:gd name="connsiteX59" fmla="*/ 7158843 w 9143999"/>
              <a:gd name="connsiteY59" fmla="*/ 434659 h 5144400"/>
              <a:gd name="connsiteX60" fmla="*/ 7171282 w 9143999"/>
              <a:gd name="connsiteY60" fmla="*/ 471522 h 5144400"/>
              <a:gd name="connsiteX61" fmla="*/ 7196160 w 9143999"/>
              <a:gd name="connsiteY61" fmla="*/ 493026 h 5144400"/>
              <a:gd name="connsiteX62" fmla="*/ 7245916 w 9143999"/>
              <a:gd name="connsiteY62" fmla="*/ 493026 h 5144400"/>
              <a:gd name="connsiteX63" fmla="*/ 7239697 w 9143999"/>
              <a:gd name="connsiteY63" fmla="*/ 477666 h 5144400"/>
              <a:gd name="connsiteX64" fmla="*/ 7180611 w 9143999"/>
              <a:gd name="connsiteY64" fmla="*/ 290280 h 5144400"/>
              <a:gd name="connsiteX65" fmla="*/ 7133965 w 9143999"/>
              <a:gd name="connsiteY65" fmla="*/ 256489 h 5144400"/>
              <a:gd name="connsiteX66" fmla="*/ 7102867 w 9143999"/>
              <a:gd name="connsiteY66" fmla="*/ 256489 h 5144400"/>
              <a:gd name="connsiteX67" fmla="*/ 7866628 w 9143999"/>
              <a:gd name="connsiteY67" fmla="*/ 256488 h 5144400"/>
              <a:gd name="connsiteX68" fmla="*/ 7866628 w 9143999"/>
              <a:gd name="connsiteY68" fmla="*/ 493025 h 5144400"/>
              <a:gd name="connsiteX69" fmla="*/ 7907268 w 9143999"/>
              <a:gd name="connsiteY69" fmla="*/ 493025 h 5144400"/>
              <a:gd name="connsiteX70" fmla="*/ 7907268 w 9143999"/>
              <a:gd name="connsiteY70" fmla="*/ 345574 h 5144400"/>
              <a:gd name="connsiteX71" fmla="*/ 8004179 w 9143999"/>
              <a:gd name="connsiteY71" fmla="*/ 462306 h 5144400"/>
              <a:gd name="connsiteX72" fmla="*/ 8041693 w 9143999"/>
              <a:gd name="connsiteY72" fmla="*/ 493025 h 5144400"/>
              <a:gd name="connsiteX73" fmla="*/ 8069828 w 9143999"/>
              <a:gd name="connsiteY73" fmla="*/ 493025 h 5144400"/>
              <a:gd name="connsiteX74" fmla="*/ 8069828 w 9143999"/>
              <a:gd name="connsiteY74" fmla="*/ 277992 h 5144400"/>
              <a:gd name="connsiteX75" fmla="*/ 8047945 w 9143999"/>
              <a:gd name="connsiteY75" fmla="*/ 256488 h 5144400"/>
              <a:gd name="connsiteX76" fmla="*/ 8029188 w 9143999"/>
              <a:gd name="connsiteY76" fmla="*/ 256488 h 5144400"/>
              <a:gd name="connsiteX77" fmla="*/ 8029188 w 9143999"/>
              <a:gd name="connsiteY77" fmla="*/ 400868 h 5144400"/>
              <a:gd name="connsiteX78" fmla="*/ 7938530 w 9143999"/>
              <a:gd name="connsiteY78" fmla="*/ 284136 h 5144400"/>
              <a:gd name="connsiteX79" fmla="*/ 7894764 w 9143999"/>
              <a:gd name="connsiteY79" fmla="*/ 256488 h 5144400"/>
              <a:gd name="connsiteX80" fmla="*/ 7866628 w 9143999"/>
              <a:gd name="connsiteY80" fmla="*/ 256488 h 5144400"/>
              <a:gd name="connsiteX81" fmla="*/ 8738166 w 9143999"/>
              <a:gd name="connsiteY81" fmla="*/ 237438 h 5144400"/>
              <a:gd name="connsiteX82" fmla="*/ 8738166 w 9143999"/>
              <a:gd name="connsiteY82" fmla="*/ 493025 h 5144400"/>
              <a:gd name="connsiteX83" fmla="*/ 8793729 w 9143999"/>
              <a:gd name="connsiteY83" fmla="*/ 493025 h 5144400"/>
              <a:gd name="connsiteX84" fmla="*/ 8793729 w 9143999"/>
              <a:gd name="connsiteY84" fmla="*/ 274390 h 5144400"/>
              <a:gd name="connsiteX85" fmla="*/ 8759774 w 9143999"/>
              <a:gd name="connsiteY85" fmla="*/ 237438 h 5144400"/>
              <a:gd name="connsiteX86" fmla="*/ 8738166 w 9143999"/>
              <a:gd name="connsiteY86" fmla="*/ 237438 h 5144400"/>
              <a:gd name="connsiteX87" fmla="*/ 8315891 w 9143999"/>
              <a:gd name="connsiteY87" fmla="*/ 237438 h 5144400"/>
              <a:gd name="connsiteX88" fmla="*/ 8315891 w 9143999"/>
              <a:gd name="connsiteY88" fmla="*/ 493025 h 5144400"/>
              <a:gd name="connsiteX89" fmla="*/ 8393965 w 9143999"/>
              <a:gd name="connsiteY89" fmla="*/ 493025 h 5144400"/>
              <a:gd name="connsiteX90" fmla="*/ 8506391 w 9143999"/>
              <a:gd name="connsiteY90" fmla="*/ 388327 h 5144400"/>
              <a:gd name="connsiteX91" fmla="*/ 8431440 w 9143999"/>
              <a:gd name="connsiteY91" fmla="*/ 308263 h 5144400"/>
              <a:gd name="connsiteX92" fmla="*/ 8381473 w 9143999"/>
              <a:gd name="connsiteY92" fmla="*/ 326740 h 5144400"/>
              <a:gd name="connsiteX93" fmla="*/ 8381473 w 9143999"/>
              <a:gd name="connsiteY93" fmla="*/ 274391 h 5144400"/>
              <a:gd name="connsiteX94" fmla="*/ 8340875 w 9143999"/>
              <a:gd name="connsiteY94" fmla="*/ 237438 h 5144400"/>
              <a:gd name="connsiteX95" fmla="*/ 8315891 w 9143999"/>
              <a:gd name="connsiteY95" fmla="*/ 237438 h 5144400"/>
              <a:gd name="connsiteX96" fmla="*/ 7268141 w 9143999"/>
              <a:gd name="connsiteY96" fmla="*/ 237438 h 5144400"/>
              <a:gd name="connsiteX97" fmla="*/ 7268141 w 9143999"/>
              <a:gd name="connsiteY97" fmla="*/ 493025 h 5144400"/>
              <a:gd name="connsiteX98" fmla="*/ 7333229 w 9143999"/>
              <a:gd name="connsiteY98" fmla="*/ 493025 h 5144400"/>
              <a:gd name="connsiteX99" fmla="*/ 7333229 w 9143999"/>
              <a:gd name="connsiteY99" fmla="*/ 420859 h 5144400"/>
              <a:gd name="connsiteX100" fmla="*/ 7333229 w 9143999"/>
              <a:gd name="connsiteY100" fmla="*/ 394758 h 5144400"/>
              <a:gd name="connsiteX101" fmla="*/ 7354980 w 9143999"/>
              <a:gd name="connsiteY101" fmla="*/ 433815 h 5144400"/>
              <a:gd name="connsiteX102" fmla="*/ 7370852 w 9143999"/>
              <a:gd name="connsiteY102" fmla="*/ 462317 h 5144400"/>
              <a:gd name="connsiteX103" fmla="*/ 7405341 w 9143999"/>
              <a:gd name="connsiteY103" fmla="*/ 493026 h 5144400"/>
              <a:gd name="connsiteX104" fmla="*/ 7458641 w 9143999"/>
              <a:gd name="connsiteY104" fmla="*/ 493026 h 5144400"/>
              <a:gd name="connsiteX105" fmla="*/ 7446100 w 9143999"/>
              <a:gd name="connsiteY105" fmla="*/ 477671 h 5144400"/>
              <a:gd name="connsiteX106" fmla="*/ 7395935 w 9143999"/>
              <a:gd name="connsiteY106" fmla="*/ 379402 h 5144400"/>
              <a:gd name="connsiteX107" fmla="*/ 7455506 w 9143999"/>
              <a:gd name="connsiteY107" fmla="*/ 305701 h 5144400"/>
              <a:gd name="connsiteX108" fmla="*/ 7402205 w 9143999"/>
              <a:gd name="connsiteY108" fmla="*/ 305701 h 5144400"/>
              <a:gd name="connsiteX109" fmla="*/ 7334306 w 9143999"/>
              <a:gd name="connsiteY109" fmla="*/ 393365 h 5144400"/>
              <a:gd name="connsiteX110" fmla="*/ 7333229 w 9143999"/>
              <a:gd name="connsiteY110" fmla="*/ 394755 h 5144400"/>
              <a:gd name="connsiteX111" fmla="*/ 7333229 w 9143999"/>
              <a:gd name="connsiteY111" fmla="*/ 366627 h 5144400"/>
              <a:gd name="connsiteX112" fmla="*/ 7333229 w 9143999"/>
              <a:gd name="connsiteY112" fmla="*/ 274391 h 5144400"/>
              <a:gd name="connsiteX113" fmla="*/ 7289837 w 9143999"/>
              <a:gd name="connsiteY113" fmla="*/ 237438 h 5144400"/>
              <a:gd name="connsiteX114" fmla="*/ 7268141 w 9143999"/>
              <a:gd name="connsiteY114" fmla="*/ 237438 h 5144400"/>
              <a:gd name="connsiteX115" fmla="*/ 8932543 w 9143999"/>
              <a:gd name="connsiteY115" fmla="*/ 0 h 5144400"/>
              <a:gd name="connsiteX116" fmla="*/ 9143999 w 9143999"/>
              <a:gd name="connsiteY116" fmla="*/ 0 h 5144400"/>
              <a:gd name="connsiteX117" fmla="*/ 9143999 w 9143999"/>
              <a:gd name="connsiteY117" fmla="*/ 5144400 h 5144400"/>
              <a:gd name="connsiteX118" fmla="*/ 9027314 w 9143999"/>
              <a:gd name="connsiteY118" fmla="*/ 5144400 h 5144400"/>
              <a:gd name="connsiteX119" fmla="*/ 9009627 w 9143999"/>
              <a:gd name="connsiteY119" fmla="*/ 5144400 h 5144400"/>
              <a:gd name="connsiteX120" fmla="*/ 8932543 w 9143999"/>
              <a:gd name="connsiteY120" fmla="*/ 5144400 h 5144400"/>
              <a:gd name="connsiteX121" fmla="*/ 8853155 w 9143999"/>
              <a:gd name="connsiteY121" fmla="*/ 5144400 h 5144400"/>
              <a:gd name="connsiteX122" fmla="*/ 0 w 9143999"/>
              <a:gd name="connsiteY122" fmla="*/ 5144400 h 5144400"/>
              <a:gd name="connsiteX123" fmla="*/ 0 w 9143999"/>
              <a:gd name="connsiteY123" fmla="*/ 902 h 5144400"/>
              <a:gd name="connsiteX124" fmla="*/ 8853155 w 9143999"/>
              <a:gd name="connsiteY124" fmla="*/ 902 h 5144400"/>
              <a:gd name="connsiteX125" fmla="*/ 8853155 w 9143999"/>
              <a:gd name="connsiteY125" fmla="*/ 900 h 5144400"/>
              <a:gd name="connsiteX126" fmla="*/ 8932543 w 9143999"/>
              <a:gd name="connsiteY126" fmla="*/ 90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143999" h="5144400">
                <a:moveTo>
                  <a:pt x="8398022" y="345388"/>
                </a:moveTo>
                <a:cubicBezTo>
                  <a:pt x="8419663" y="345388"/>
                  <a:pt x="8441303" y="367043"/>
                  <a:pt x="8441303" y="397979"/>
                </a:cubicBezTo>
                <a:cubicBezTo>
                  <a:pt x="8441303" y="441289"/>
                  <a:pt x="8422754" y="466038"/>
                  <a:pt x="8391839" y="466038"/>
                </a:cubicBezTo>
                <a:cubicBezTo>
                  <a:pt x="8382565" y="466038"/>
                  <a:pt x="8382565" y="466038"/>
                  <a:pt x="8382565" y="466038"/>
                </a:cubicBezTo>
                <a:cubicBezTo>
                  <a:pt x="8382565" y="348482"/>
                  <a:pt x="8382565" y="348482"/>
                  <a:pt x="8382565" y="348482"/>
                </a:cubicBezTo>
                <a:cubicBezTo>
                  <a:pt x="8385656" y="345388"/>
                  <a:pt x="8388748" y="345388"/>
                  <a:pt x="8398022" y="345388"/>
                </a:cubicBezTo>
                <a:close/>
                <a:moveTo>
                  <a:pt x="8194405" y="339038"/>
                </a:moveTo>
                <a:cubicBezTo>
                  <a:pt x="8212954" y="339038"/>
                  <a:pt x="8222228" y="366899"/>
                  <a:pt x="8222228" y="404046"/>
                </a:cubicBezTo>
                <a:cubicBezTo>
                  <a:pt x="8222228" y="441194"/>
                  <a:pt x="8212954" y="462863"/>
                  <a:pt x="8194405" y="462863"/>
                </a:cubicBezTo>
                <a:cubicBezTo>
                  <a:pt x="8172765" y="462863"/>
                  <a:pt x="8163490" y="438098"/>
                  <a:pt x="8163490" y="400951"/>
                </a:cubicBezTo>
                <a:cubicBezTo>
                  <a:pt x="8163490" y="363803"/>
                  <a:pt x="8172765" y="339038"/>
                  <a:pt x="8194405" y="339038"/>
                </a:cubicBezTo>
                <a:close/>
                <a:moveTo>
                  <a:pt x="7739627" y="339038"/>
                </a:moveTo>
                <a:cubicBezTo>
                  <a:pt x="7761852" y="339038"/>
                  <a:pt x="7768202" y="366899"/>
                  <a:pt x="7768202" y="404046"/>
                </a:cubicBezTo>
                <a:cubicBezTo>
                  <a:pt x="7768202" y="441194"/>
                  <a:pt x="7761852" y="462863"/>
                  <a:pt x="7739627" y="462863"/>
                </a:cubicBezTo>
                <a:cubicBezTo>
                  <a:pt x="7717402" y="462863"/>
                  <a:pt x="7711052" y="438098"/>
                  <a:pt x="7711052" y="400951"/>
                </a:cubicBezTo>
                <a:cubicBezTo>
                  <a:pt x="7711052" y="363803"/>
                  <a:pt x="7717402" y="339038"/>
                  <a:pt x="7739627" y="339038"/>
                </a:cubicBezTo>
                <a:close/>
                <a:moveTo>
                  <a:pt x="8619102" y="335863"/>
                </a:moveTo>
                <a:cubicBezTo>
                  <a:pt x="8644502" y="335863"/>
                  <a:pt x="8650852" y="378725"/>
                  <a:pt x="8650852" y="378725"/>
                </a:cubicBezTo>
                <a:cubicBezTo>
                  <a:pt x="8590527" y="378725"/>
                  <a:pt x="8590527" y="378725"/>
                  <a:pt x="8590527" y="378725"/>
                </a:cubicBezTo>
                <a:cubicBezTo>
                  <a:pt x="8590527" y="354233"/>
                  <a:pt x="8600052" y="335863"/>
                  <a:pt x="8619102" y="335863"/>
                </a:cubicBezTo>
                <a:close/>
                <a:moveTo>
                  <a:pt x="7121217" y="308875"/>
                </a:moveTo>
                <a:cubicBezTo>
                  <a:pt x="7149078" y="410475"/>
                  <a:pt x="7149078" y="410475"/>
                  <a:pt x="7149078" y="410475"/>
                </a:cubicBezTo>
                <a:cubicBezTo>
                  <a:pt x="7087165" y="410475"/>
                  <a:pt x="7087165" y="410475"/>
                  <a:pt x="7087165" y="410475"/>
                </a:cubicBezTo>
                <a:cubicBezTo>
                  <a:pt x="7121217" y="308875"/>
                  <a:pt x="7121217" y="308875"/>
                  <a:pt x="7121217" y="308875"/>
                </a:cubicBezTo>
                <a:close/>
                <a:moveTo>
                  <a:pt x="7471280" y="305701"/>
                </a:moveTo>
                <a:cubicBezTo>
                  <a:pt x="7471280" y="336410"/>
                  <a:pt x="7471280" y="336410"/>
                  <a:pt x="7471280" y="336410"/>
                </a:cubicBezTo>
                <a:cubicBezTo>
                  <a:pt x="7539787" y="336410"/>
                  <a:pt x="7539787" y="336410"/>
                  <a:pt x="7539787" y="336410"/>
                </a:cubicBezTo>
                <a:cubicBezTo>
                  <a:pt x="7474394" y="465388"/>
                  <a:pt x="7474394" y="465388"/>
                  <a:pt x="7474394" y="465388"/>
                </a:cubicBezTo>
                <a:cubicBezTo>
                  <a:pt x="7468166" y="477671"/>
                  <a:pt x="7468166" y="486884"/>
                  <a:pt x="7471280" y="493026"/>
                </a:cubicBezTo>
                <a:cubicBezTo>
                  <a:pt x="7608294" y="493026"/>
                  <a:pt x="7608294" y="493026"/>
                  <a:pt x="7608294" y="493026"/>
                </a:cubicBezTo>
                <a:cubicBezTo>
                  <a:pt x="7620749" y="493026"/>
                  <a:pt x="7630091" y="483813"/>
                  <a:pt x="7630091" y="471529"/>
                </a:cubicBezTo>
                <a:cubicBezTo>
                  <a:pt x="7630091" y="459246"/>
                  <a:pt x="7630091" y="459246"/>
                  <a:pt x="7630091" y="459246"/>
                </a:cubicBezTo>
                <a:cubicBezTo>
                  <a:pt x="7623863" y="462317"/>
                  <a:pt x="7614522" y="462317"/>
                  <a:pt x="7592724" y="462317"/>
                </a:cubicBezTo>
                <a:cubicBezTo>
                  <a:pt x="7549129" y="462317"/>
                  <a:pt x="7549129" y="462317"/>
                  <a:pt x="7549129" y="462317"/>
                </a:cubicBezTo>
                <a:cubicBezTo>
                  <a:pt x="7626977" y="305701"/>
                  <a:pt x="7626977" y="305701"/>
                  <a:pt x="7626977" y="305701"/>
                </a:cubicBezTo>
                <a:cubicBezTo>
                  <a:pt x="7471280" y="305701"/>
                  <a:pt x="7471280" y="305701"/>
                  <a:pt x="7471280" y="305701"/>
                </a:cubicBezTo>
                <a:close/>
                <a:moveTo>
                  <a:pt x="8622169" y="305700"/>
                </a:moveTo>
                <a:cubicBezTo>
                  <a:pt x="8566004" y="305700"/>
                  <a:pt x="8525441" y="342551"/>
                  <a:pt x="8525441" y="397827"/>
                </a:cubicBezTo>
                <a:cubicBezTo>
                  <a:pt x="8525441" y="453103"/>
                  <a:pt x="8562884" y="493025"/>
                  <a:pt x="8619049" y="493025"/>
                </a:cubicBezTo>
                <a:cubicBezTo>
                  <a:pt x="8675213" y="493025"/>
                  <a:pt x="8697055" y="462316"/>
                  <a:pt x="8697055" y="434678"/>
                </a:cubicBezTo>
                <a:cubicBezTo>
                  <a:pt x="8684574" y="443891"/>
                  <a:pt x="8665853" y="450033"/>
                  <a:pt x="8644011" y="450033"/>
                </a:cubicBezTo>
                <a:cubicBezTo>
                  <a:pt x="8612808" y="450033"/>
                  <a:pt x="8590966" y="431607"/>
                  <a:pt x="8590966" y="403969"/>
                </a:cubicBezTo>
                <a:cubicBezTo>
                  <a:pt x="8706416" y="403969"/>
                  <a:pt x="8706416" y="403969"/>
                  <a:pt x="8706416" y="403969"/>
                </a:cubicBezTo>
                <a:cubicBezTo>
                  <a:pt x="8706416" y="394756"/>
                  <a:pt x="8706416" y="388615"/>
                  <a:pt x="8706416" y="382473"/>
                </a:cubicBezTo>
                <a:cubicBezTo>
                  <a:pt x="8706416" y="339480"/>
                  <a:pt x="8675213" y="305700"/>
                  <a:pt x="8622169" y="305700"/>
                </a:cubicBezTo>
                <a:close/>
                <a:moveTo>
                  <a:pt x="8195215" y="305700"/>
                </a:moveTo>
                <a:cubicBezTo>
                  <a:pt x="8139002" y="305700"/>
                  <a:pt x="8098403" y="342551"/>
                  <a:pt x="8098403" y="403969"/>
                </a:cubicBezTo>
                <a:cubicBezTo>
                  <a:pt x="8098403" y="456174"/>
                  <a:pt x="8139002" y="493025"/>
                  <a:pt x="8192092" y="493025"/>
                </a:cubicBezTo>
                <a:cubicBezTo>
                  <a:pt x="8245182" y="493025"/>
                  <a:pt x="8288903" y="456174"/>
                  <a:pt x="8288903" y="394756"/>
                </a:cubicBezTo>
                <a:cubicBezTo>
                  <a:pt x="8288903" y="342551"/>
                  <a:pt x="8248305" y="305700"/>
                  <a:pt x="8195215" y="305700"/>
                </a:cubicBezTo>
                <a:close/>
                <a:moveTo>
                  <a:pt x="7739629" y="305700"/>
                </a:moveTo>
                <a:cubicBezTo>
                  <a:pt x="7686497" y="305700"/>
                  <a:pt x="7639616" y="342551"/>
                  <a:pt x="7639616" y="403969"/>
                </a:cubicBezTo>
                <a:cubicBezTo>
                  <a:pt x="7639616" y="456175"/>
                  <a:pt x="7686497" y="493025"/>
                  <a:pt x="7739629" y="493025"/>
                </a:cubicBezTo>
                <a:cubicBezTo>
                  <a:pt x="7792760" y="493025"/>
                  <a:pt x="7839641" y="456175"/>
                  <a:pt x="7839641" y="394757"/>
                </a:cubicBezTo>
                <a:cubicBezTo>
                  <a:pt x="7839641" y="342551"/>
                  <a:pt x="7795886" y="305700"/>
                  <a:pt x="7739629" y="305700"/>
                </a:cubicBezTo>
                <a:close/>
                <a:moveTo>
                  <a:pt x="7102867" y="256489"/>
                </a:moveTo>
                <a:cubicBezTo>
                  <a:pt x="7018903" y="493026"/>
                  <a:pt x="7018903" y="493026"/>
                  <a:pt x="7018903" y="493026"/>
                </a:cubicBezTo>
                <a:cubicBezTo>
                  <a:pt x="7056220" y="493026"/>
                  <a:pt x="7056220" y="493026"/>
                  <a:pt x="7056220" y="493026"/>
                </a:cubicBezTo>
                <a:cubicBezTo>
                  <a:pt x="7077989" y="434659"/>
                  <a:pt x="7077989" y="434659"/>
                  <a:pt x="7077989" y="434659"/>
                </a:cubicBezTo>
                <a:cubicBezTo>
                  <a:pt x="7158843" y="434659"/>
                  <a:pt x="7158843" y="434659"/>
                  <a:pt x="7158843" y="434659"/>
                </a:cubicBezTo>
                <a:cubicBezTo>
                  <a:pt x="7171282" y="471522"/>
                  <a:pt x="7171282" y="471522"/>
                  <a:pt x="7171282" y="471522"/>
                </a:cubicBezTo>
                <a:cubicBezTo>
                  <a:pt x="7177501" y="486882"/>
                  <a:pt x="7180611" y="493026"/>
                  <a:pt x="7196160" y="493026"/>
                </a:cubicBezTo>
                <a:cubicBezTo>
                  <a:pt x="7245916" y="493026"/>
                  <a:pt x="7245916" y="493026"/>
                  <a:pt x="7245916" y="493026"/>
                </a:cubicBezTo>
                <a:cubicBezTo>
                  <a:pt x="7245916" y="489954"/>
                  <a:pt x="7242806" y="486882"/>
                  <a:pt x="7239697" y="477666"/>
                </a:cubicBezTo>
                <a:cubicBezTo>
                  <a:pt x="7180611" y="290280"/>
                  <a:pt x="7180611" y="290280"/>
                  <a:pt x="7180611" y="290280"/>
                </a:cubicBezTo>
                <a:cubicBezTo>
                  <a:pt x="7171282" y="268776"/>
                  <a:pt x="7161953" y="256489"/>
                  <a:pt x="7133965" y="256489"/>
                </a:cubicBezTo>
                <a:cubicBezTo>
                  <a:pt x="7102867" y="256489"/>
                  <a:pt x="7102867" y="256489"/>
                  <a:pt x="7102867" y="256489"/>
                </a:cubicBezTo>
                <a:close/>
                <a:moveTo>
                  <a:pt x="7866628" y="256488"/>
                </a:moveTo>
                <a:cubicBezTo>
                  <a:pt x="7866628" y="493025"/>
                  <a:pt x="7866628" y="493025"/>
                  <a:pt x="7866628" y="493025"/>
                </a:cubicBezTo>
                <a:cubicBezTo>
                  <a:pt x="7907268" y="493025"/>
                  <a:pt x="7907268" y="493025"/>
                  <a:pt x="7907268" y="493025"/>
                </a:cubicBezTo>
                <a:cubicBezTo>
                  <a:pt x="7907268" y="345574"/>
                  <a:pt x="7907268" y="345574"/>
                  <a:pt x="7907268" y="345574"/>
                </a:cubicBezTo>
                <a:cubicBezTo>
                  <a:pt x="8004179" y="462306"/>
                  <a:pt x="8004179" y="462306"/>
                  <a:pt x="8004179" y="462306"/>
                </a:cubicBezTo>
                <a:cubicBezTo>
                  <a:pt x="8016684" y="480738"/>
                  <a:pt x="8026062" y="493025"/>
                  <a:pt x="8041693" y="493025"/>
                </a:cubicBezTo>
                <a:cubicBezTo>
                  <a:pt x="8069828" y="493025"/>
                  <a:pt x="8069828" y="493025"/>
                  <a:pt x="8069828" y="493025"/>
                </a:cubicBezTo>
                <a:cubicBezTo>
                  <a:pt x="8069828" y="277992"/>
                  <a:pt x="8069828" y="277992"/>
                  <a:pt x="8069828" y="277992"/>
                </a:cubicBezTo>
                <a:cubicBezTo>
                  <a:pt x="8069828" y="265704"/>
                  <a:pt x="8060450" y="256488"/>
                  <a:pt x="8047945" y="256488"/>
                </a:cubicBezTo>
                <a:cubicBezTo>
                  <a:pt x="8029188" y="256488"/>
                  <a:pt x="8029188" y="256488"/>
                  <a:pt x="8029188" y="256488"/>
                </a:cubicBezTo>
                <a:cubicBezTo>
                  <a:pt x="8029188" y="400868"/>
                  <a:pt x="8029188" y="400868"/>
                  <a:pt x="8029188" y="400868"/>
                </a:cubicBezTo>
                <a:cubicBezTo>
                  <a:pt x="7938530" y="284136"/>
                  <a:pt x="7938530" y="284136"/>
                  <a:pt x="7938530" y="284136"/>
                </a:cubicBezTo>
                <a:cubicBezTo>
                  <a:pt x="7922899" y="268776"/>
                  <a:pt x="7916647" y="256488"/>
                  <a:pt x="7894764" y="256488"/>
                </a:cubicBezTo>
                <a:cubicBezTo>
                  <a:pt x="7866628" y="256488"/>
                  <a:pt x="7866628" y="256488"/>
                  <a:pt x="7866628" y="256488"/>
                </a:cubicBezTo>
                <a:close/>
                <a:moveTo>
                  <a:pt x="8738166" y="237438"/>
                </a:moveTo>
                <a:cubicBezTo>
                  <a:pt x="8738166" y="493025"/>
                  <a:pt x="8738166" y="493025"/>
                  <a:pt x="8738166" y="493025"/>
                </a:cubicBezTo>
                <a:cubicBezTo>
                  <a:pt x="8793729" y="493025"/>
                  <a:pt x="8793729" y="493025"/>
                  <a:pt x="8793729" y="493025"/>
                </a:cubicBezTo>
                <a:cubicBezTo>
                  <a:pt x="8793729" y="274390"/>
                  <a:pt x="8793729" y="274390"/>
                  <a:pt x="8793729" y="274390"/>
                </a:cubicBezTo>
                <a:cubicBezTo>
                  <a:pt x="8793729" y="252835"/>
                  <a:pt x="8778295" y="237438"/>
                  <a:pt x="8759774" y="237438"/>
                </a:cubicBezTo>
                <a:cubicBezTo>
                  <a:pt x="8738166" y="237438"/>
                  <a:pt x="8738166" y="237438"/>
                  <a:pt x="8738166" y="237438"/>
                </a:cubicBezTo>
                <a:close/>
                <a:moveTo>
                  <a:pt x="8315891" y="237438"/>
                </a:moveTo>
                <a:cubicBezTo>
                  <a:pt x="8315891" y="493025"/>
                  <a:pt x="8315891" y="493025"/>
                  <a:pt x="8315891" y="493025"/>
                </a:cubicBezTo>
                <a:cubicBezTo>
                  <a:pt x="8393965" y="493025"/>
                  <a:pt x="8393965" y="493025"/>
                  <a:pt x="8393965" y="493025"/>
                </a:cubicBezTo>
                <a:cubicBezTo>
                  <a:pt x="8465793" y="493025"/>
                  <a:pt x="8506391" y="456073"/>
                  <a:pt x="8506391" y="388327"/>
                </a:cubicBezTo>
                <a:cubicBezTo>
                  <a:pt x="8506391" y="342136"/>
                  <a:pt x="8475161" y="308263"/>
                  <a:pt x="8431440" y="308263"/>
                </a:cubicBezTo>
                <a:cubicBezTo>
                  <a:pt x="8409580" y="308263"/>
                  <a:pt x="8390842" y="317502"/>
                  <a:pt x="8381473" y="326740"/>
                </a:cubicBezTo>
                <a:cubicBezTo>
                  <a:pt x="8381473" y="274391"/>
                  <a:pt x="8381473" y="274391"/>
                  <a:pt x="8381473" y="274391"/>
                </a:cubicBezTo>
                <a:cubicBezTo>
                  <a:pt x="8381473" y="252835"/>
                  <a:pt x="8362735" y="237438"/>
                  <a:pt x="8340875" y="237438"/>
                </a:cubicBezTo>
                <a:cubicBezTo>
                  <a:pt x="8315891" y="237438"/>
                  <a:pt x="8315891" y="237438"/>
                  <a:pt x="8315891" y="237438"/>
                </a:cubicBezTo>
                <a:close/>
                <a:moveTo>
                  <a:pt x="7268141" y="237438"/>
                </a:moveTo>
                <a:cubicBezTo>
                  <a:pt x="7268141" y="493025"/>
                  <a:pt x="7268141" y="493025"/>
                  <a:pt x="7268141" y="493025"/>
                </a:cubicBezTo>
                <a:cubicBezTo>
                  <a:pt x="7333229" y="493025"/>
                  <a:pt x="7333229" y="493025"/>
                  <a:pt x="7333229" y="493025"/>
                </a:cubicBezTo>
                <a:cubicBezTo>
                  <a:pt x="7333229" y="465696"/>
                  <a:pt x="7333229" y="441783"/>
                  <a:pt x="7333229" y="420859"/>
                </a:cubicBezTo>
                <a:lnTo>
                  <a:pt x="7333229" y="394758"/>
                </a:lnTo>
                <a:lnTo>
                  <a:pt x="7354980" y="433815"/>
                </a:lnTo>
                <a:cubicBezTo>
                  <a:pt x="7370852" y="462317"/>
                  <a:pt x="7370852" y="462317"/>
                  <a:pt x="7370852" y="462317"/>
                </a:cubicBezTo>
                <a:cubicBezTo>
                  <a:pt x="7380258" y="483813"/>
                  <a:pt x="7383393" y="493026"/>
                  <a:pt x="7405341" y="493026"/>
                </a:cubicBezTo>
                <a:cubicBezTo>
                  <a:pt x="7458641" y="493026"/>
                  <a:pt x="7458641" y="493026"/>
                  <a:pt x="7458641" y="493026"/>
                </a:cubicBezTo>
                <a:cubicBezTo>
                  <a:pt x="7455506" y="489955"/>
                  <a:pt x="7452371" y="486884"/>
                  <a:pt x="7446100" y="477671"/>
                </a:cubicBezTo>
                <a:cubicBezTo>
                  <a:pt x="7395935" y="379402"/>
                  <a:pt x="7395935" y="379402"/>
                  <a:pt x="7395935" y="379402"/>
                </a:cubicBezTo>
                <a:cubicBezTo>
                  <a:pt x="7455506" y="305701"/>
                  <a:pt x="7455506" y="305701"/>
                  <a:pt x="7455506" y="305701"/>
                </a:cubicBezTo>
                <a:cubicBezTo>
                  <a:pt x="7402205" y="305701"/>
                  <a:pt x="7402205" y="305701"/>
                  <a:pt x="7402205" y="305701"/>
                </a:cubicBezTo>
                <a:cubicBezTo>
                  <a:pt x="7350473" y="372493"/>
                  <a:pt x="7337539" y="389191"/>
                  <a:pt x="7334306" y="393365"/>
                </a:cubicBezTo>
                <a:lnTo>
                  <a:pt x="7333229" y="394755"/>
                </a:lnTo>
                <a:lnTo>
                  <a:pt x="7333229" y="366627"/>
                </a:lnTo>
                <a:cubicBezTo>
                  <a:pt x="7333229" y="274391"/>
                  <a:pt x="7333229" y="274391"/>
                  <a:pt x="7333229" y="274391"/>
                </a:cubicBezTo>
                <a:cubicBezTo>
                  <a:pt x="7333229" y="252835"/>
                  <a:pt x="7314633" y="237438"/>
                  <a:pt x="7289837" y="237438"/>
                </a:cubicBezTo>
                <a:cubicBezTo>
                  <a:pt x="7268141" y="237438"/>
                  <a:pt x="7268141" y="237438"/>
                  <a:pt x="7268141" y="237438"/>
                </a:cubicBezTo>
                <a:close/>
                <a:moveTo>
                  <a:pt x="8932543" y="0"/>
                </a:moveTo>
                <a:lnTo>
                  <a:pt x="9143999" y="0"/>
                </a:lnTo>
                <a:lnTo>
                  <a:pt x="9143999" y="5144400"/>
                </a:lnTo>
                <a:lnTo>
                  <a:pt x="9027314" y="5144400"/>
                </a:lnTo>
                <a:lnTo>
                  <a:pt x="9009627" y="5144400"/>
                </a:lnTo>
                <a:lnTo>
                  <a:pt x="8932543" y="5144400"/>
                </a:lnTo>
                <a:lnTo>
                  <a:pt x="8853155" y="5144400"/>
                </a:lnTo>
                <a:lnTo>
                  <a:pt x="0" y="5144400"/>
                </a:lnTo>
                <a:lnTo>
                  <a:pt x="0" y="902"/>
                </a:lnTo>
                <a:lnTo>
                  <a:pt x="8853155" y="902"/>
                </a:lnTo>
                <a:lnTo>
                  <a:pt x="8853155" y="900"/>
                </a:lnTo>
                <a:lnTo>
                  <a:pt x="8932543" y="900"/>
                </a:lnTo>
                <a:close/>
              </a:path>
            </a:pathLst>
          </a:custGeom>
          <a:solidFill>
            <a:srgbClr val="B9C9D0">
              <a:alpha val="50000"/>
            </a:srgbClr>
          </a:solidFill>
        </p:spPr>
        <p:txBody>
          <a:bodyPr wrap="square" bIns="720000" anchor="ctr" anchorCtr="0">
            <a:noAutofit/>
          </a:bodyPr>
          <a:lstStyle>
            <a:lvl1pPr algn="ctr">
              <a:defRPr sz="1200"/>
            </a:lvl1pPr>
          </a:lstStyle>
          <a:p>
            <a:r>
              <a:rPr lang="en-US" noProof="0"/>
              <a:t>Click icon to add picture</a:t>
            </a:r>
            <a:endParaRPr lang="en-US" noProof="0" dirty="0"/>
          </a:p>
        </p:txBody>
      </p:sp>
      <p:graphicFrame>
        <p:nvGraphicFramePr>
          <p:cNvPr id="24" name="Object 2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24" name="Object 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8" name="Group 27"/>
          <p:cNvGrpSpPr/>
          <p:nvPr/>
        </p:nvGrpSpPr>
        <p:grpSpPr bwMode="gray">
          <a:xfrm>
            <a:off x="9286875" y="182684"/>
            <a:ext cx="1581150" cy="3229876"/>
            <a:chOff x="9286875" y="182684"/>
            <a:chExt cx="1581150" cy="3229876"/>
          </a:xfrm>
        </p:grpSpPr>
        <p:sp>
          <p:nvSpPr>
            <p:cNvPr id="29" name="Rectangle 28"/>
            <p:cNvSpPr/>
            <p:nvPr/>
          </p:nvSpPr>
          <p:spPr bwMode="gray">
            <a:xfrm>
              <a:off x="9288779" y="182684"/>
              <a:ext cx="1579245"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dirty="0">
                  <a:solidFill>
                    <a:schemeClr val="tx1"/>
                  </a:solidFill>
                </a:rPr>
                <a:t>Crop picture</a:t>
              </a:r>
            </a:p>
            <a:p>
              <a:pPr algn="l"/>
              <a:r>
                <a:rPr lang="en-US" sz="900" b="0" dirty="0">
                  <a:solidFill>
                    <a:schemeClr val="tx1"/>
                  </a:solidFill>
                </a:rPr>
                <a:t>Select picture &gt; click</a:t>
              </a:r>
              <a:r>
                <a:rPr lang="en-US" sz="900" b="0" baseline="0" dirty="0">
                  <a:solidFill>
                    <a:schemeClr val="tx1"/>
                  </a:solidFill>
                </a:rPr>
                <a:t> on tab “Picture Tools &gt; Format”</a:t>
              </a:r>
              <a:endParaRPr lang="en-US" sz="900" b="0" dirty="0">
                <a:solidFill>
                  <a:schemeClr val="tx1"/>
                </a:solidFill>
              </a:endParaRPr>
            </a:p>
          </p:txBody>
        </p:sp>
        <p:sp>
          <p:nvSpPr>
            <p:cNvPr id="30" name="Rectangle 29"/>
            <p:cNvSpPr/>
            <p:nvPr/>
          </p:nvSpPr>
          <p:spPr bwMode="gray">
            <a:xfrm>
              <a:off x="9288780" y="1261435"/>
              <a:ext cx="1579244" cy="1662924"/>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dirty="0">
                  <a:solidFill>
                    <a:schemeClr val="tx1"/>
                  </a:solidFill>
                </a:rPr>
                <a:t>Click</a:t>
              </a:r>
              <a:r>
                <a:rPr lang="en-US" sz="900" b="0" baseline="0" dirty="0">
                  <a:solidFill>
                    <a:schemeClr val="tx1"/>
                  </a:solidFill>
                </a:rPr>
                <a:t> on the icon </a:t>
              </a:r>
              <a:br>
                <a:rPr lang="en-US" sz="900" b="0" baseline="0" dirty="0">
                  <a:solidFill>
                    <a:schemeClr val="tx1"/>
                  </a:solidFill>
                </a:rPr>
              </a:br>
              <a:r>
                <a:rPr lang="en-US" sz="900" b="0" baseline="0" dirty="0">
                  <a:solidFill>
                    <a:schemeClr val="tx1"/>
                  </a:solidFill>
                </a:rPr>
                <a:t>above “Crop”</a:t>
              </a:r>
            </a:p>
            <a:p>
              <a:pPr algn="l"/>
              <a:endParaRPr lang="en-US" sz="900" b="0" baseline="0" dirty="0">
                <a:solidFill>
                  <a:schemeClr val="tx1"/>
                </a:solidFill>
              </a:endParaRPr>
            </a:p>
            <a:p>
              <a:pPr algn="l"/>
              <a:r>
                <a:rPr lang="en-US" sz="900" b="0" baseline="0" dirty="0">
                  <a:solidFill>
                    <a:schemeClr val="tx1"/>
                  </a:solidFill>
                </a:rPr>
                <a:t>You will see crop and scale markers on the corners</a:t>
              </a:r>
              <a:endParaRPr lang="en-US" sz="900" b="0" dirty="0">
                <a:solidFill>
                  <a:schemeClr val="tx1"/>
                </a:solidFill>
              </a:endParaRPr>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35" name="Picture 34"/>
            <p:cNvPicPr>
              <a:picLocks noChangeAspect="1"/>
            </p:cNvPicPr>
            <p:nvPr/>
          </p:nvPicPr>
          <p:blipFill rotWithShape="1">
            <a:blip r:embed="rId7">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36" name="Picture 35"/>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37" name="Picture 36"/>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38" name="Rectangle 37"/>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39" name="Rectangle 38"/>
            <p:cNvSpPr/>
            <p:nvPr/>
          </p:nvSpPr>
          <p:spPr bwMode="gray">
            <a:xfrm>
              <a:off x="9288780" y="2924359"/>
              <a:ext cx="1579244"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dirty="0">
                  <a:solidFill>
                    <a:schemeClr val="tx1"/>
                  </a:solidFill>
                </a:rPr>
                <a:t>Use the “circular scale icon” to scale your picture within the cropped region.</a:t>
              </a:r>
            </a:p>
          </p:txBody>
        </p:sp>
        <p:cxnSp>
          <p:nvCxnSpPr>
            <p:cNvPr id="40" name="Straight Arrow Connector 39"/>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1" idx="0"/>
              <a:endCxn id="31" idx="2"/>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31" idx="3"/>
              <a:endCxn id="31" idx="1"/>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Oval 63"/>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sp>
        <p:nvSpPr>
          <p:cNvPr id="55" name="Text Placeholder 54"/>
          <p:cNvSpPr>
            <a:spLocks noGrp="1"/>
          </p:cNvSpPr>
          <p:nvPr>
            <p:ph type="body" sz="quarter" idx="19" hasCustomPrompt="1"/>
          </p:nvPr>
        </p:nvSpPr>
        <p:spPr bwMode="gray">
          <a:xfrm>
            <a:off x="0" y="-221258"/>
            <a:ext cx="36000" cy="36000"/>
          </a:xfrm>
          <a:custGeom>
            <a:avLst/>
            <a:gdLst>
              <a:gd name="connsiteX0" fmla="*/ 89445 w 360383"/>
              <a:gd name="connsiteY0" fmla="*/ 0 h 360000"/>
              <a:gd name="connsiteX1" fmla="*/ 360383 w 360383"/>
              <a:gd name="connsiteY1" fmla="*/ 0 h 360000"/>
              <a:gd name="connsiteX2" fmla="*/ 360383 w 360383"/>
              <a:gd name="connsiteY2" fmla="*/ 270162 h 360000"/>
              <a:gd name="connsiteX3" fmla="*/ 270938 w 360383"/>
              <a:gd name="connsiteY3" fmla="*/ 360000 h 360000"/>
              <a:gd name="connsiteX4" fmla="*/ 270938 w 360383"/>
              <a:gd name="connsiteY4" fmla="*/ 89189 h 360000"/>
              <a:gd name="connsiteX5" fmla="*/ 0 w 360383"/>
              <a:gd name="connsiteY5" fmla="*/ 89189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383" h="360000">
                <a:moveTo>
                  <a:pt x="89445" y="0"/>
                </a:moveTo>
                <a:lnTo>
                  <a:pt x="360383" y="0"/>
                </a:lnTo>
                <a:lnTo>
                  <a:pt x="360383" y="270162"/>
                </a:lnTo>
                <a:lnTo>
                  <a:pt x="270938" y="360000"/>
                </a:lnTo>
                <a:lnTo>
                  <a:pt x="270938" y="89189"/>
                </a:lnTo>
                <a:lnTo>
                  <a:pt x="0" y="89189"/>
                </a:lnTo>
                <a:close/>
              </a:path>
            </a:pathLst>
          </a:custGeom>
          <a:noFill/>
        </p:spPr>
        <p:txBody>
          <a:bodyPr wrap="square">
            <a:noAutofit/>
          </a:bodyPr>
          <a:lstStyle>
            <a:lvl1pPr>
              <a:defRPr/>
            </a:lvl1pPr>
          </a:lstStyle>
          <a:p>
            <a:pPr lvl="0"/>
            <a:r>
              <a:rPr lang="en-US"/>
              <a:t>  </a:t>
            </a:r>
            <a:endParaRPr lang="en-GB"/>
          </a:p>
        </p:txBody>
      </p:sp>
      <p:sp>
        <p:nvSpPr>
          <p:cNvPr id="52" name="Title 3"/>
          <p:cNvSpPr>
            <a:spLocks noGrp="1"/>
          </p:cNvSpPr>
          <p:nvPr>
            <p:ph type="title" hasCustomPrompt="1"/>
          </p:nvPr>
        </p:nvSpPr>
        <p:spPr bwMode="gray">
          <a:xfrm>
            <a:off x="352424" y="252000"/>
            <a:ext cx="4428000" cy="895662"/>
          </a:xfrm>
          <a:solidFill>
            <a:schemeClr val="bg1">
              <a:alpha val="90000"/>
            </a:schemeClr>
          </a:solidFill>
        </p:spPr>
        <p:txBody>
          <a:bodyPr wrap="square" lIns="100800" tIns="126000" rIns="100800" bIns="126000" anchor="t" anchorCtr="0">
            <a:noAutofit/>
          </a:bodyPr>
          <a:lstStyle>
            <a:lvl1pPr>
              <a:defRPr>
                <a:solidFill>
                  <a:schemeClr val="accent1"/>
                </a:solidFill>
              </a:defRPr>
            </a:lvl1pPr>
          </a:lstStyle>
          <a:p>
            <a:r>
              <a:rPr lang="en-US"/>
              <a:t>Click to edit Master title style </a:t>
            </a:r>
            <a:endParaRPr lang="nl-NL"/>
          </a:p>
        </p:txBody>
      </p:sp>
    </p:spTree>
    <p:extLst>
      <p:ext uri="{BB962C8B-B14F-4D97-AF65-F5344CB8AC3E}">
        <p14:creationId xmlns:p14="http://schemas.microsoft.com/office/powerpoint/2010/main" val="9823884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ull Image with Header 2, blue logo">
    <p:bg>
      <p:bgPr>
        <a:solidFill>
          <a:srgbClr val="005192"/>
        </a:solidFill>
        <a:effectLst/>
      </p:bgPr>
    </p:bg>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1A60FDAF-2E2A-4DA0-8DD2-47A74AF447BE}"/>
              </a:ext>
            </a:extLst>
          </p:cNvPr>
          <p:cNvGrpSpPr/>
          <p:nvPr userDrawn="1"/>
        </p:nvGrpSpPr>
        <p:grpSpPr>
          <a:xfrm>
            <a:off x="0" y="-900"/>
            <a:ext cx="9143999" cy="5144400"/>
            <a:chOff x="0" y="-900"/>
            <a:chExt cx="9143999" cy="5144400"/>
          </a:xfrm>
        </p:grpSpPr>
        <p:sp>
          <p:nvSpPr>
            <p:cNvPr id="25" name="Rectangle 24">
              <a:extLst>
                <a:ext uri="{FF2B5EF4-FFF2-40B4-BE49-F238E27FC236}">
                  <a16:creationId xmlns:a16="http://schemas.microsoft.com/office/drawing/2014/main" id="{28E43AB6-E6D1-46DC-A70B-48BB5EDF21A9}"/>
                </a:ext>
              </a:extLst>
            </p:cNvPr>
            <p:cNvSpPr/>
            <p:nvPr userDrawn="1"/>
          </p:nvSpPr>
          <p:spPr>
            <a:xfrm>
              <a:off x="7013813" y="-900"/>
              <a:ext cx="1782000" cy="5144400"/>
            </a:xfrm>
            <a:prstGeom prst="rect">
              <a:avLst/>
            </a:prstGeom>
            <a:gradFill flip="none" rotWithShape="1">
              <a:gsLst>
                <a:gs pos="0">
                  <a:srgbClr val="005192"/>
                </a:gs>
                <a:gs pos="100000">
                  <a:srgbClr val="008BC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26" name="Rectangle 25">
              <a:extLst>
                <a:ext uri="{FF2B5EF4-FFF2-40B4-BE49-F238E27FC236}">
                  <a16:creationId xmlns:a16="http://schemas.microsoft.com/office/drawing/2014/main" id="{A15AF137-4104-445B-B8FB-3289791F9597}"/>
                </a:ext>
              </a:extLst>
            </p:cNvPr>
            <p:cNvSpPr/>
            <p:nvPr userDrawn="1"/>
          </p:nvSpPr>
          <p:spPr>
            <a:xfrm>
              <a:off x="0" y="-900"/>
              <a:ext cx="7013813" cy="5144400"/>
            </a:xfrm>
            <a:prstGeom prst="rect">
              <a:avLst/>
            </a:prstGeom>
            <a:solidFill>
              <a:srgbClr val="00519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27" name="Rectangle 26">
              <a:extLst>
                <a:ext uri="{FF2B5EF4-FFF2-40B4-BE49-F238E27FC236}">
                  <a16:creationId xmlns:a16="http://schemas.microsoft.com/office/drawing/2014/main" id="{D833FBBB-C288-4B0E-B6EE-393E96D68D45}"/>
                </a:ext>
              </a:extLst>
            </p:cNvPr>
            <p:cNvSpPr/>
            <p:nvPr userDrawn="1"/>
          </p:nvSpPr>
          <p:spPr>
            <a:xfrm>
              <a:off x="8795812" y="-900"/>
              <a:ext cx="348187" cy="5144400"/>
            </a:xfrm>
            <a:prstGeom prst="rect">
              <a:avLst/>
            </a:prstGeom>
            <a:solidFill>
              <a:srgbClr val="008B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sp>
        <p:nvSpPr>
          <p:cNvPr id="22" name="Freeform: Shape 21">
            <a:extLst>
              <a:ext uri="{FF2B5EF4-FFF2-40B4-BE49-F238E27FC236}">
                <a16:creationId xmlns:a16="http://schemas.microsoft.com/office/drawing/2014/main" id="{06DAAE6B-5F0D-4447-A4AB-D66BB539F8E1}"/>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57" name="Picture Placeholder 56"/>
          <p:cNvSpPr>
            <a:spLocks noGrp="1"/>
          </p:cNvSpPr>
          <p:nvPr>
            <p:ph type="pic" sz="quarter" idx="17"/>
          </p:nvPr>
        </p:nvSpPr>
        <p:spPr bwMode="gray">
          <a:xfrm>
            <a:off x="1" y="-450"/>
            <a:ext cx="9143999" cy="5144400"/>
          </a:xfrm>
          <a:custGeom>
            <a:avLst/>
            <a:gdLst>
              <a:gd name="connsiteX0" fmla="*/ 8398022 w 9143999"/>
              <a:gd name="connsiteY0" fmla="*/ 345388 h 5144400"/>
              <a:gd name="connsiteX1" fmla="*/ 8441303 w 9143999"/>
              <a:gd name="connsiteY1" fmla="*/ 397979 h 5144400"/>
              <a:gd name="connsiteX2" fmla="*/ 8391839 w 9143999"/>
              <a:gd name="connsiteY2" fmla="*/ 466038 h 5144400"/>
              <a:gd name="connsiteX3" fmla="*/ 8382565 w 9143999"/>
              <a:gd name="connsiteY3" fmla="*/ 466038 h 5144400"/>
              <a:gd name="connsiteX4" fmla="*/ 8382565 w 9143999"/>
              <a:gd name="connsiteY4" fmla="*/ 348482 h 5144400"/>
              <a:gd name="connsiteX5" fmla="*/ 8398022 w 9143999"/>
              <a:gd name="connsiteY5" fmla="*/ 345388 h 5144400"/>
              <a:gd name="connsiteX6" fmla="*/ 8194405 w 9143999"/>
              <a:gd name="connsiteY6" fmla="*/ 339038 h 5144400"/>
              <a:gd name="connsiteX7" fmla="*/ 8222228 w 9143999"/>
              <a:gd name="connsiteY7" fmla="*/ 404046 h 5144400"/>
              <a:gd name="connsiteX8" fmla="*/ 8194405 w 9143999"/>
              <a:gd name="connsiteY8" fmla="*/ 462863 h 5144400"/>
              <a:gd name="connsiteX9" fmla="*/ 8163490 w 9143999"/>
              <a:gd name="connsiteY9" fmla="*/ 400951 h 5144400"/>
              <a:gd name="connsiteX10" fmla="*/ 8194405 w 9143999"/>
              <a:gd name="connsiteY10" fmla="*/ 339038 h 5144400"/>
              <a:gd name="connsiteX11" fmla="*/ 7739627 w 9143999"/>
              <a:gd name="connsiteY11" fmla="*/ 339038 h 5144400"/>
              <a:gd name="connsiteX12" fmla="*/ 7768202 w 9143999"/>
              <a:gd name="connsiteY12" fmla="*/ 404046 h 5144400"/>
              <a:gd name="connsiteX13" fmla="*/ 7739627 w 9143999"/>
              <a:gd name="connsiteY13" fmla="*/ 462863 h 5144400"/>
              <a:gd name="connsiteX14" fmla="*/ 7711052 w 9143999"/>
              <a:gd name="connsiteY14" fmla="*/ 400951 h 5144400"/>
              <a:gd name="connsiteX15" fmla="*/ 7739627 w 9143999"/>
              <a:gd name="connsiteY15" fmla="*/ 339038 h 5144400"/>
              <a:gd name="connsiteX16" fmla="*/ 8619102 w 9143999"/>
              <a:gd name="connsiteY16" fmla="*/ 335863 h 5144400"/>
              <a:gd name="connsiteX17" fmla="*/ 8650852 w 9143999"/>
              <a:gd name="connsiteY17" fmla="*/ 378725 h 5144400"/>
              <a:gd name="connsiteX18" fmla="*/ 8590527 w 9143999"/>
              <a:gd name="connsiteY18" fmla="*/ 378725 h 5144400"/>
              <a:gd name="connsiteX19" fmla="*/ 8619102 w 9143999"/>
              <a:gd name="connsiteY19" fmla="*/ 335863 h 5144400"/>
              <a:gd name="connsiteX20" fmla="*/ 7121217 w 9143999"/>
              <a:gd name="connsiteY20" fmla="*/ 308875 h 5144400"/>
              <a:gd name="connsiteX21" fmla="*/ 7149078 w 9143999"/>
              <a:gd name="connsiteY21" fmla="*/ 410475 h 5144400"/>
              <a:gd name="connsiteX22" fmla="*/ 7087165 w 9143999"/>
              <a:gd name="connsiteY22" fmla="*/ 410475 h 5144400"/>
              <a:gd name="connsiteX23" fmla="*/ 7121217 w 9143999"/>
              <a:gd name="connsiteY23" fmla="*/ 308875 h 5144400"/>
              <a:gd name="connsiteX24" fmla="*/ 7471280 w 9143999"/>
              <a:gd name="connsiteY24" fmla="*/ 305701 h 5144400"/>
              <a:gd name="connsiteX25" fmla="*/ 7471280 w 9143999"/>
              <a:gd name="connsiteY25" fmla="*/ 336410 h 5144400"/>
              <a:gd name="connsiteX26" fmla="*/ 7539787 w 9143999"/>
              <a:gd name="connsiteY26" fmla="*/ 336410 h 5144400"/>
              <a:gd name="connsiteX27" fmla="*/ 7474394 w 9143999"/>
              <a:gd name="connsiteY27" fmla="*/ 465388 h 5144400"/>
              <a:gd name="connsiteX28" fmla="*/ 7471280 w 9143999"/>
              <a:gd name="connsiteY28" fmla="*/ 493026 h 5144400"/>
              <a:gd name="connsiteX29" fmla="*/ 7608294 w 9143999"/>
              <a:gd name="connsiteY29" fmla="*/ 493026 h 5144400"/>
              <a:gd name="connsiteX30" fmla="*/ 7630091 w 9143999"/>
              <a:gd name="connsiteY30" fmla="*/ 471529 h 5144400"/>
              <a:gd name="connsiteX31" fmla="*/ 7630091 w 9143999"/>
              <a:gd name="connsiteY31" fmla="*/ 459246 h 5144400"/>
              <a:gd name="connsiteX32" fmla="*/ 7592724 w 9143999"/>
              <a:gd name="connsiteY32" fmla="*/ 462317 h 5144400"/>
              <a:gd name="connsiteX33" fmla="*/ 7549129 w 9143999"/>
              <a:gd name="connsiteY33" fmla="*/ 462317 h 5144400"/>
              <a:gd name="connsiteX34" fmla="*/ 7626977 w 9143999"/>
              <a:gd name="connsiteY34" fmla="*/ 305701 h 5144400"/>
              <a:gd name="connsiteX35" fmla="*/ 7471280 w 9143999"/>
              <a:gd name="connsiteY35" fmla="*/ 305701 h 5144400"/>
              <a:gd name="connsiteX36" fmla="*/ 8622169 w 9143999"/>
              <a:gd name="connsiteY36" fmla="*/ 305700 h 5144400"/>
              <a:gd name="connsiteX37" fmla="*/ 8525441 w 9143999"/>
              <a:gd name="connsiteY37" fmla="*/ 397827 h 5144400"/>
              <a:gd name="connsiteX38" fmla="*/ 8619049 w 9143999"/>
              <a:gd name="connsiteY38" fmla="*/ 493025 h 5144400"/>
              <a:gd name="connsiteX39" fmla="*/ 8697055 w 9143999"/>
              <a:gd name="connsiteY39" fmla="*/ 434678 h 5144400"/>
              <a:gd name="connsiteX40" fmla="*/ 8644011 w 9143999"/>
              <a:gd name="connsiteY40" fmla="*/ 450033 h 5144400"/>
              <a:gd name="connsiteX41" fmla="*/ 8590966 w 9143999"/>
              <a:gd name="connsiteY41" fmla="*/ 403969 h 5144400"/>
              <a:gd name="connsiteX42" fmla="*/ 8706416 w 9143999"/>
              <a:gd name="connsiteY42" fmla="*/ 403969 h 5144400"/>
              <a:gd name="connsiteX43" fmla="*/ 8706416 w 9143999"/>
              <a:gd name="connsiteY43" fmla="*/ 382473 h 5144400"/>
              <a:gd name="connsiteX44" fmla="*/ 8622169 w 9143999"/>
              <a:gd name="connsiteY44" fmla="*/ 305700 h 5144400"/>
              <a:gd name="connsiteX45" fmla="*/ 8195215 w 9143999"/>
              <a:gd name="connsiteY45" fmla="*/ 305700 h 5144400"/>
              <a:gd name="connsiteX46" fmla="*/ 8098403 w 9143999"/>
              <a:gd name="connsiteY46" fmla="*/ 403969 h 5144400"/>
              <a:gd name="connsiteX47" fmla="*/ 8192092 w 9143999"/>
              <a:gd name="connsiteY47" fmla="*/ 493025 h 5144400"/>
              <a:gd name="connsiteX48" fmla="*/ 8288903 w 9143999"/>
              <a:gd name="connsiteY48" fmla="*/ 394756 h 5144400"/>
              <a:gd name="connsiteX49" fmla="*/ 8195215 w 9143999"/>
              <a:gd name="connsiteY49" fmla="*/ 305700 h 5144400"/>
              <a:gd name="connsiteX50" fmla="*/ 7739629 w 9143999"/>
              <a:gd name="connsiteY50" fmla="*/ 305700 h 5144400"/>
              <a:gd name="connsiteX51" fmla="*/ 7639616 w 9143999"/>
              <a:gd name="connsiteY51" fmla="*/ 403969 h 5144400"/>
              <a:gd name="connsiteX52" fmla="*/ 7739629 w 9143999"/>
              <a:gd name="connsiteY52" fmla="*/ 493025 h 5144400"/>
              <a:gd name="connsiteX53" fmla="*/ 7839641 w 9143999"/>
              <a:gd name="connsiteY53" fmla="*/ 394757 h 5144400"/>
              <a:gd name="connsiteX54" fmla="*/ 7739629 w 9143999"/>
              <a:gd name="connsiteY54" fmla="*/ 305700 h 5144400"/>
              <a:gd name="connsiteX55" fmla="*/ 7102867 w 9143999"/>
              <a:gd name="connsiteY55" fmla="*/ 256489 h 5144400"/>
              <a:gd name="connsiteX56" fmla="*/ 7018903 w 9143999"/>
              <a:gd name="connsiteY56" fmla="*/ 493026 h 5144400"/>
              <a:gd name="connsiteX57" fmla="*/ 7056220 w 9143999"/>
              <a:gd name="connsiteY57" fmla="*/ 493026 h 5144400"/>
              <a:gd name="connsiteX58" fmla="*/ 7077989 w 9143999"/>
              <a:gd name="connsiteY58" fmla="*/ 434659 h 5144400"/>
              <a:gd name="connsiteX59" fmla="*/ 7158843 w 9143999"/>
              <a:gd name="connsiteY59" fmla="*/ 434659 h 5144400"/>
              <a:gd name="connsiteX60" fmla="*/ 7171282 w 9143999"/>
              <a:gd name="connsiteY60" fmla="*/ 471522 h 5144400"/>
              <a:gd name="connsiteX61" fmla="*/ 7196160 w 9143999"/>
              <a:gd name="connsiteY61" fmla="*/ 493026 h 5144400"/>
              <a:gd name="connsiteX62" fmla="*/ 7245916 w 9143999"/>
              <a:gd name="connsiteY62" fmla="*/ 493026 h 5144400"/>
              <a:gd name="connsiteX63" fmla="*/ 7239697 w 9143999"/>
              <a:gd name="connsiteY63" fmla="*/ 477666 h 5144400"/>
              <a:gd name="connsiteX64" fmla="*/ 7180611 w 9143999"/>
              <a:gd name="connsiteY64" fmla="*/ 290280 h 5144400"/>
              <a:gd name="connsiteX65" fmla="*/ 7133965 w 9143999"/>
              <a:gd name="connsiteY65" fmla="*/ 256489 h 5144400"/>
              <a:gd name="connsiteX66" fmla="*/ 7102867 w 9143999"/>
              <a:gd name="connsiteY66" fmla="*/ 256489 h 5144400"/>
              <a:gd name="connsiteX67" fmla="*/ 7866628 w 9143999"/>
              <a:gd name="connsiteY67" fmla="*/ 256488 h 5144400"/>
              <a:gd name="connsiteX68" fmla="*/ 7866628 w 9143999"/>
              <a:gd name="connsiteY68" fmla="*/ 493025 h 5144400"/>
              <a:gd name="connsiteX69" fmla="*/ 7907268 w 9143999"/>
              <a:gd name="connsiteY69" fmla="*/ 493025 h 5144400"/>
              <a:gd name="connsiteX70" fmla="*/ 7907268 w 9143999"/>
              <a:gd name="connsiteY70" fmla="*/ 345574 h 5144400"/>
              <a:gd name="connsiteX71" fmla="*/ 8004179 w 9143999"/>
              <a:gd name="connsiteY71" fmla="*/ 462306 h 5144400"/>
              <a:gd name="connsiteX72" fmla="*/ 8041693 w 9143999"/>
              <a:gd name="connsiteY72" fmla="*/ 493025 h 5144400"/>
              <a:gd name="connsiteX73" fmla="*/ 8069828 w 9143999"/>
              <a:gd name="connsiteY73" fmla="*/ 493025 h 5144400"/>
              <a:gd name="connsiteX74" fmla="*/ 8069828 w 9143999"/>
              <a:gd name="connsiteY74" fmla="*/ 277992 h 5144400"/>
              <a:gd name="connsiteX75" fmla="*/ 8047945 w 9143999"/>
              <a:gd name="connsiteY75" fmla="*/ 256488 h 5144400"/>
              <a:gd name="connsiteX76" fmla="*/ 8029188 w 9143999"/>
              <a:gd name="connsiteY76" fmla="*/ 256488 h 5144400"/>
              <a:gd name="connsiteX77" fmla="*/ 8029188 w 9143999"/>
              <a:gd name="connsiteY77" fmla="*/ 400868 h 5144400"/>
              <a:gd name="connsiteX78" fmla="*/ 7938530 w 9143999"/>
              <a:gd name="connsiteY78" fmla="*/ 284136 h 5144400"/>
              <a:gd name="connsiteX79" fmla="*/ 7894764 w 9143999"/>
              <a:gd name="connsiteY79" fmla="*/ 256488 h 5144400"/>
              <a:gd name="connsiteX80" fmla="*/ 7866628 w 9143999"/>
              <a:gd name="connsiteY80" fmla="*/ 256488 h 5144400"/>
              <a:gd name="connsiteX81" fmla="*/ 8738166 w 9143999"/>
              <a:gd name="connsiteY81" fmla="*/ 237438 h 5144400"/>
              <a:gd name="connsiteX82" fmla="*/ 8738166 w 9143999"/>
              <a:gd name="connsiteY82" fmla="*/ 493025 h 5144400"/>
              <a:gd name="connsiteX83" fmla="*/ 8793729 w 9143999"/>
              <a:gd name="connsiteY83" fmla="*/ 493025 h 5144400"/>
              <a:gd name="connsiteX84" fmla="*/ 8793729 w 9143999"/>
              <a:gd name="connsiteY84" fmla="*/ 274390 h 5144400"/>
              <a:gd name="connsiteX85" fmla="*/ 8759774 w 9143999"/>
              <a:gd name="connsiteY85" fmla="*/ 237438 h 5144400"/>
              <a:gd name="connsiteX86" fmla="*/ 8738166 w 9143999"/>
              <a:gd name="connsiteY86" fmla="*/ 237438 h 5144400"/>
              <a:gd name="connsiteX87" fmla="*/ 8315891 w 9143999"/>
              <a:gd name="connsiteY87" fmla="*/ 237438 h 5144400"/>
              <a:gd name="connsiteX88" fmla="*/ 8315891 w 9143999"/>
              <a:gd name="connsiteY88" fmla="*/ 493025 h 5144400"/>
              <a:gd name="connsiteX89" fmla="*/ 8393965 w 9143999"/>
              <a:gd name="connsiteY89" fmla="*/ 493025 h 5144400"/>
              <a:gd name="connsiteX90" fmla="*/ 8506391 w 9143999"/>
              <a:gd name="connsiteY90" fmla="*/ 388327 h 5144400"/>
              <a:gd name="connsiteX91" fmla="*/ 8431440 w 9143999"/>
              <a:gd name="connsiteY91" fmla="*/ 308263 h 5144400"/>
              <a:gd name="connsiteX92" fmla="*/ 8381473 w 9143999"/>
              <a:gd name="connsiteY92" fmla="*/ 326740 h 5144400"/>
              <a:gd name="connsiteX93" fmla="*/ 8381473 w 9143999"/>
              <a:gd name="connsiteY93" fmla="*/ 274391 h 5144400"/>
              <a:gd name="connsiteX94" fmla="*/ 8340875 w 9143999"/>
              <a:gd name="connsiteY94" fmla="*/ 237438 h 5144400"/>
              <a:gd name="connsiteX95" fmla="*/ 8315891 w 9143999"/>
              <a:gd name="connsiteY95" fmla="*/ 237438 h 5144400"/>
              <a:gd name="connsiteX96" fmla="*/ 7268141 w 9143999"/>
              <a:gd name="connsiteY96" fmla="*/ 237438 h 5144400"/>
              <a:gd name="connsiteX97" fmla="*/ 7268141 w 9143999"/>
              <a:gd name="connsiteY97" fmla="*/ 493025 h 5144400"/>
              <a:gd name="connsiteX98" fmla="*/ 7333229 w 9143999"/>
              <a:gd name="connsiteY98" fmla="*/ 493025 h 5144400"/>
              <a:gd name="connsiteX99" fmla="*/ 7333229 w 9143999"/>
              <a:gd name="connsiteY99" fmla="*/ 420859 h 5144400"/>
              <a:gd name="connsiteX100" fmla="*/ 7333229 w 9143999"/>
              <a:gd name="connsiteY100" fmla="*/ 394758 h 5144400"/>
              <a:gd name="connsiteX101" fmla="*/ 7354980 w 9143999"/>
              <a:gd name="connsiteY101" fmla="*/ 433815 h 5144400"/>
              <a:gd name="connsiteX102" fmla="*/ 7370852 w 9143999"/>
              <a:gd name="connsiteY102" fmla="*/ 462317 h 5144400"/>
              <a:gd name="connsiteX103" fmla="*/ 7405341 w 9143999"/>
              <a:gd name="connsiteY103" fmla="*/ 493026 h 5144400"/>
              <a:gd name="connsiteX104" fmla="*/ 7458641 w 9143999"/>
              <a:gd name="connsiteY104" fmla="*/ 493026 h 5144400"/>
              <a:gd name="connsiteX105" fmla="*/ 7446100 w 9143999"/>
              <a:gd name="connsiteY105" fmla="*/ 477671 h 5144400"/>
              <a:gd name="connsiteX106" fmla="*/ 7395935 w 9143999"/>
              <a:gd name="connsiteY106" fmla="*/ 379402 h 5144400"/>
              <a:gd name="connsiteX107" fmla="*/ 7455506 w 9143999"/>
              <a:gd name="connsiteY107" fmla="*/ 305701 h 5144400"/>
              <a:gd name="connsiteX108" fmla="*/ 7402205 w 9143999"/>
              <a:gd name="connsiteY108" fmla="*/ 305701 h 5144400"/>
              <a:gd name="connsiteX109" fmla="*/ 7334306 w 9143999"/>
              <a:gd name="connsiteY109" fmla="*/ 393365 h 5144400"/>
              <a:gd name="connsiteX110" fmla="*/ 7333229 w 9143999"/>
              <a:gd name="connsiteY110" fmla="*/ 394755 h 5144400"/>
              <a:gd name="connsiteX111" fmla="*/ 7333229 w 9143999"/>
              <a:gd name="connsiteY111" fmla="*/ 366627 h 5144400"/>
              <a:gd name="connsiteX112" fmla="*/ 7333229 w 9143999"/>
              <a:gd name="connsiteY112" fmla="*/ 274391 h 5144400"/>
              <a:gd name="connsiteX113" fmla="*/ 7289837 w 9143999"/>
              <a:gd name="connsiteY113" fmla="*/ 237438 h 5144400"/>
              <a:gd name="connsiteX114" fmla="*/ 7268141 w 9143999"/>
              <a:gd name="connsiteY114" fmla="*/ 237438 h 5144400"/>
              <a:gd name="connsiteX115" fmla="*/ 8932543 w 9143999"/>
              <a:gd name="connsiteY115" fmla="*/ 0 h 5144400"/>
              <a:gd name="connsiteX116" fmla="*/ 9143999 w 9143999"/>
              <a:gd name="connsiteY116" fmla="*/ 0 h 5144400"/>
              <a:gd name="connsiteX117" fmla="*/ 9143999 w 9143999"/>
              <a:gd name="connsiteY117" fmla="*/ 5144400 h 5144400"/>
              <a:gd name="connsiteX118" fmla="*/ 9027314 w 9143999"/>
              <a:gd name="connsiteY118" fmla="*/ 5144400 h 5144400"/>
              <a:gd name="connsiteX119" fmla="*/ 9009627 w 9143999"/>
              <a:gd name="connsiteY119" fmla="*/ 5144400 h 5144400"/>
              <a:gd name="connsiteX120" fmla="*/ 8932543 w 9143999"/>
              <a:gd name="connsiteY120" fmla="*/ 5144400 h 5144400"/>
              <a:gd name="connsiteX121" fmla="*/ 8853155 w 9143999"/>
              <a:gd name="connsiteY121" fmla="*/ 5144400 h 5144400"/>
              <a:gd name="connsiteX122" fmla="*/ 0 w 9143999"/>
              <a:gd name="connsiteY122" fmla="*/ 5144400 h 5144400"/>
              <a:gd name="connsiteX123" fmla="*/ 0 w 9143999"/>
              <a:gd name="connsiteY123" fmla="*/ 902 h 5144400"/>
              <a:gd name="connsiteX124" fmla="*/ 8853155 w 9143999"/>
              <a:gd name="connsiteY124" fmla="*/ 902 h 5144400"/>
              <a:gd name="connsiteX125" fmla="*/ 8853155 w 9143999"/>
              <a:gd name="connsiteY125" fmla="*/ 900 h 5144400"/>
              <a:gd name="connsiteX126" fmla="*/ 8932543 w 9143999"/>
              <a:gd name="connsiteY126" fmla="*/ 90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143999" h="5144400">
                <a:moveTo>
                  <a:pt x="8398022" y="345388"/>
                </a:moveTo>
                <a:cubicBezTo>
                  <a:pt x="8419663" y="345388"/>
                  <a:pt x="8441303" y="367043"/>
                  <a:pt x="8441303" y="397979"/>
                </a:cubicBezTo>
                <a:cubicBezTo>
                  <a:pt x="8441303" y="441289"/>
                  <a:pt x="8422754" y="466038"/>
                  <a:pt x="8391839" y="466038"/>
                </a:cubicBezTo>
                <a:cubicBezTo>
                  <a:pt x="8382565" y="466038"/>
                  <a:pt x="8382565" y="466038"/>
                  <a:pt x="8382565" y="466038"/>
                </a:cubicBezTo>
                <a:cubicBezTo>
                  <a:pt x="8382565" y="348482"/>
                  <a:pt x="8382565" y="348482"/>
                  <a:pt x="8382565" y="348482"/>
                </a:cubicBezTo>
                <a:cubicBezTo>
                  <a:pt x="8385656" y="345388"/>
                  <a:pt x="8388748" y="345388"/>
                  <a:pt x="8398022" y="345388"/>
                </a:cubicBezTo>
                <a:close/>
                <a:moveTo>
                  <a:pt x="8194405" y="339038"/>
                </a:moveTo>
                <a:cubicBezTo>
                  <a:pt x="8212954" y="339038"/>
                  <a:pt x="8222228" y="366899"/>
                  <a:pt x="8222228" y="404046"/>
                </a:cubicBezTo>
                <a:cubicBezTo>
                  <a:pt x="8222228" y="441194"/>
                  <a:pt x="8212954" y="462863"/>
                  <a:pt x="8194405" y="462863"/>
                </a:cubicBezTo>
                <a:cubicBezTo>
                  <a:pt x="8172765" y="462863"/>
                  <a:pt x="8163490" y="438098"/>
                  <a:pt x="8163490" y="400951"/>
                </a:cubicBezTo>
                <a:cubicBezTo>
                  <a:pt x="8163490" y="363803"/>
                  <a:pt x="8172765" y="339038"/>
                  <a:pt x="8194405" y="339038"/>
                </a:cubicBezTo>
                <a:close/>
                <a:moveTo>
                  <a:pt x="7739627" y="339038"/>
                </a:moveTo>
                <a:cubicBezTo>
                  <a:pt x="7761852" y="339038"/>
                  <a:pt x="7768202" y="366899"/>
                  <a:pt x="7768202" y="404046"/>
                </a:cubicBezTo>
                <a:cubicBezTo>
                  <a:pt x="7768202" y="441194"/>
                  <a:pt x="7761852" y="462863"/>
                  <a:pt x="7739627" y="462863"/>
                </a:cubicBezTo>
                <a:cubicBezTo>
                  <a:pt x="7717402" y="462863"/>
                  <a:pt x="7711052" y="438098"/>
                  <a:pt x="7711052" y="400951"/>
                </a:cubicBezTo>
                <a:cubicBezTo>
                  <a:pt x="7711052" y="363803"/>
                  <a:pt x="7717402" y="339038"/>
                  <a:pt x="7739627" y="339038"/>
                </a:cubicBezTo>
                <a:close/>
                <a:moveTo>
                  <a:pt x="8619102" y="335863"/>
                </a:moveTo>
                <a:cubicBezTo>
                  <a:pt x="8644502" y="335863"/>
                  <a:pt x="8650852" y="378725"/>
                  <a:pt x="8650852" y="378725"/>
                </a:cubicBezTo>
                <a:cubicBezTo>
                  <a:pt x="8590527" y="378725"/>
                  <a:pt x="8590527" y="378725"/>
                  <a:pt x="8590527" y="378725"/>
                </a:cubicBezTo>
                <a:cubicBezTo>
                  <a:pt x="8590527" y="354233"/>
                  <a:pt x="8600052" y="335863"/>
                  <a:pt x="8619102" y="335863"/>
                </a:cubicBezTo>
                <a:close/>
                <a:moveTo>
                  <a:pt x="7121217" y="308875"/>
                </a:moveTo>
                <a:cubicBezTo>
                  <a:pt x="7149078" y="410475"/>
                  <a:pt x="7149078" y="410475"/>
                  <a:pt x="7149078" y="410475"/>
                </a:cubicBezTo>
                <a:cubicBezTo>
                  <a:pt x="7087165" y="410475"/>
                  <a:pt x="7087165" y="410475"/>
                  <a:pt x="7087165" y="410475"/>
                </a:cubicBezTo>
                <a:cubicBezTo>
                  <a:pt x="7121217" y="308875"/>
                  <a:pt x="7121217" y="308875"/>
                  <a:pt x="7121217" y="308875"/>
                </a:cubicBezTo>
                <a:close/>
                <a:moveTo>
                  <a:pt x="7471280" y="305701"/>
                </a:moveTo>
                <a:cubicBezTo>
                  <a:pt x="7471280" y="336410"/>
                  <a:pt x="7471280" y="336410"/>
                  <a:pt x="7471280" y="336410"/>
                </a:cubicBezTo>
                <a:cubicBezTo>
                  <a:pt x="7539787" y="336410"/>
                  <a:pt x="7539787" y="336410"/>
                  <a:pt x="7539787" y="336410"/>
                </a:cubicBezTo>
                <a:cubicBezTo>
                  <a:pt x="7474394" y="465388"/>
                  <a:pt x="7474394" y="465388"/>
                  <a:pt x="7474394" y="465388"/>
                </a:cubicBezTo>
                <a:cubicBezTo>
                  <a:pt x="7468166" y="477671"/>
                  <a:pt x="7468166" y="486884"/>
                  <a:pt x="7471280" y="493026"/>
                </a:cubicBezTo>
                <a:cubicBezTo>
                  <a:pt x="7608294" y="493026"/>
                  <a:pt x="7608294" y="493026"/>
                  <a:pt x="7608294" y="493026"/>
                </a:cubicBezTo>
                <a:cubicBezTo>
                  <a:pt x="7620749" y="493026"/>
                  <a:pt x="7630091" y="483813"/>
                  <a:pt x="7630091" y="471529"/>
                </a:cubicBezTo>
                <a:cubicBezTo>
                  <a:pt x="7630091" y="459246"/>
                  <a:pt x="7630091" y="459246"/>
                  <a:pt x="7630091" y="459246"/>
                </a:cubicBezTo>
                <a:cubicBezTo>
                  <a:pt x="7623863" y="462317"/>
                  <a:pt x="7614522" y="462317"/>
                  <a:pt x="7592724" y="462317"/>
                </a:cubicBezTo>
                <a:cubicBezTo>
                  <a:pt x="7549129" y="462317"/>
                  <a:pt x="7549129" y="462317"/>
                  <a:pt x="7549129" y="462317"/>
                </a:cubicBezTo>
                <a:cubicBezTo>
                  <a:pt x="7626977" y="305701"/>
                  <a:pt x="7626977" y="305701"/>
                  <a:pt x="7626977" y="305701"/>
                </a:cubicBezTo>
                <a:cubicBezTo>
                  <a:pt x="7471280" y="305701"/>
                  <a:pt x="7471280" y="305701"/>
                  <a:pt x="7471280" y="305701"/>
                </a:cubicBezTo>
                <a:close/>
                <a:moveTo>
                  <a:pt x="8622169" y="305700"/>
                </a:moveTo>
                <a:cubicBezTo>
                  <a:pt x="8566004" y="305700"/>
                  <a:pt x="8525441" y="342551"/>
                  <a:pt x="8525441" y="397827"/>
                </a:cubicBezTo>
                <a:cubicBezTo>
                  <a:pt x="8525441" y="453103"/>
                  <a:pt x="8562884" y="493025"/>
                  <a:pt x="8619049" y="493025"/>
                </a:cubicBezTo>
                <a:cubicBezTo>
                  <a:pt x="8675213" y="493025"/>
                  <a:pt x="8697055" y="462316"/>
                  <a:pt x="8697055" y="434678"/>
                </a:cubicBezTo>
                <a:cubicBezTo>
                  <a:pt x="8684574" y="443891"/>
                  <a:pt x="8665853" y="450033"/>
                  <a:pt x="8644011" y="450033"/>
                </a:cubicBezTo>
                <a:cubicBezTo>
                  <a:pt x="8612808" y="450033"/>
                  <a:pt x="8590966" y="431607"/>
                  <a:pt x="8590966" y="403969"/>
                </a:cubicBezTo>
                <a:cubicBezTo>
                  <a:pt x="8706416" y="403969"/>
                  <a:pt x="8706416" y="403969"/>
                  <a:pt x="8706416" y="403969"/>
                </a:cubicBezTo>
                <a:cubicBezTo>
                  <a:pt x="8706416" y="394756"/>
                  <a:pt x="8706416" y="388615"/>
                  <a:pt x="8706416" y="382473"/>
                </a:cubicBezTo>
                <a:cubicBezTo>
                  <a:pt x="8706416" y="339480"/>
                  <a:pt x="8675213" y="305700"/>
                  <a:pt x="8622169" y="305700"/>
                </a:cubicBezTo>
                <a:close/>
                <a:moveTo>
                  <a:pt x="8195215" y="305700"/>
                </a:moveTo>
                <a:cubicBezTo>
                  <a:pt x="8139002" y="305700"/>
                  <a:pt x="8098403" y="342551"/>
                  <a:pt x="8098403" y="403969"/>
                </a:cubicBezTo>
                <a:cubicBezTo>
                  <a:pt x="8098403" y="456174"/>
                  <a:pt x="8139002" y="493025"/>
                  <a:pt x="8192092" y="493025"/>
                </a:cubicBezTo>
                <a:cubicBezTo>
                  <a:pt x="8245182" y="493025"/>
                  <a:pt x="8288903" y="456174"/>
                  <a:pt x="8288903" y="394756"/>
                </a:cubicBezTo>
                <a:cubicBezTo>
                  <a:pt x="8288903" y="342551"/>
                  <a:pt x="8248305" y="305700"/>
                  <a:pt x="8195215" y="305700"/>
                </a:cubicBezTo>
                <a:close/>
                <a:moveTo>
                  <a:pt x="7739629" y="305700"/>
                </a:moveTo>
                <a:cubicBezTo>
                  <a:pt x="7686497" y="305700"/>
                  <a:pt x="7639616" y="342551"/>
                  <a:pt x="7639616" y="403969"/>
                </a:cubicBezTo>
                <a:cubicBezTo>
                  <a:pt x="7639616" y="456175"/>
                  <a:pt x="7686497" y="493025"/>
                  <a:pt x="7739629" y="493025"/>
                </a:cubicBezTo>
                <a:cubicBezTo>
                  <a:pt x="7792760" y="493025"/>
                  <a:pt x="7839641" y="456175"/>
                  <a:pt x="7839641" y="394757"/>
                </a:cubicBezTo>
                <a:cubicBezTo>
                  <a:pt x="7839641" y="342551"/>
                  <a:pt x="7795886" y="305700"/>
                  <a:pt x="7739629" y="305700"/>
                </a:cubicBezTo>
                <a:close/>
                <a:moveTo>
                  <a:pt x="7102867" y="256489"/>
                </a:moveTo>
                <a:cubicBezTo>
                  <a:pt x="7018903" y="493026"/>
                  <a:pt x="7018903" y="493026"/>
                  <a:pt x="7018903" y="493026"/>
                </a:cubicBezTo>
                <a:cubicBezTo>
                  <a:pt x="7056220" y="493026"/>
                  <a:pt x="7056220" y="493026"/>
                  <a:pt x="7056220" y="493026"/>
                </a:cubicBezTo>
                <a:cubicBezTo>
                  <a:pt x="7077989" y="434659"/>
                  <a:pt x="7077989" y="434659"/>
                  <a:pt x="7077989" y="434659"/>
                </a:cubicBezTo>
                <a:cubicBezTo>
                  <a:pt x="7158843" y="434659"/>
                  <a:pt x="7158843" y="434659"/>
                  <a:pt x="7158843" y="434659"/>
                </a:cubicBezTo>
                <a:cubicBezTo>
                  <a:pt x="7171282" y="471522"/>
                  <a:pt x="7171282" y="471522"/>
                  <a:pt x="7171282" y="471522"/>
                </a:cubicBezTo>
                <a:cubicBezTo>
                  <a:pt x="7177501" y="486882"/>
                  <a:pt x="7180611" y="493026"/>
                  <a:pt x="7196160" y="493026"/>
                </a:cubicBezTo>
                <a:cubicBezTo>
                  <a:pt x="7245916" y="493026"/>
                  <a:pt x="7245916" y="493026"/>
                  <a:pt x="7245916" y="493026"/>
                </a:cubicBezTo>
                <a:cubicBezTo>
                  <a:pt x="7245916" y="489954"/>
                  <a:pt x="7242806" y="486882"/>
                  <a:pt x="7239697" y="477666"/>
                </a:cubicBezTo>
                <a:cubicBezTo>
                  <a:pt x="7180611" y="290280"/>
                  <a:pt x="7180611" y="290280"/>
                  <a:pt x="7180611" y="290280"/>
                </a:cubicBezTo>
                <a:cubicBezTo>
                  <a:pt x="7171282" y="268776"/>
                  <a:pt x="7161953" y="256489"/>
                  <a:pt x="7133965" y="256489"/>
                </a:cubicBezTo>
                <a:cubicBezTo>
                  <a:pt x="7102867" y="256489"/>
                  <a:pt x="7102867" y="256489"/>
                  <a:pt x="7102867" y="256489"/>
                </a:cubicBezTo>
                <a:close/>
                <a:moveTo>
                  <a:pt x="7866628" y="256488"/>
                </a:moveTo>
                <a:cubicBezTo>
                  <a:pt x="7866628" y="493025"/>
                  <a:pt x="7866628" y="493025"/>
                  <a:pt x="7866628" y="493025"/>
                </a:cubicBezTo>
                <a:cubicBezTo>
                  <a:pt x="7907268" y="493025"/>
                  <a:pt x="7907268" y="493025"/>
                  <a:pt x="7907268" y="493025"/>
                </a:cubicBezTo>
                <a:cubicBezTo>
                  <a:pt x="7907268" y="345574"/>
                  <a:pt x="7907268" y="345574"/>
                  <a:pt x="7907268" y="345574"/>
                </a:cubicBezTo>
                <a:cubicBezTo>
                  <a:pt x="8004179" y="462306"/>
                  <a:pt x="8004179" y="462306"/>
                  <a:pt x="8004179" y="462306"/>
                </a:cubicBezTo>
                <a:cubicBezTo>
                  <a:pt x="8016684" y="480738"/>
                  <a:pt x="8026062" y="493025"/>
                  <a:pt x="8041693" y="493025"/>
                </a:cubicBezTo>
                <a:cubicBezTo>
                  <a:pt x="8069828" y="493025"/>
                  <a:pt x="8069828" y="493025"/>
                  <a:pt x="8069828" y="493025"/>
                </a:cubicBezTo>
                <a:cubicBezTo>
                  <a:pt x="8069828" y="277992"/>
                  <a:pt x="8069828" y="277992"/>
                  <a:pt x="8069828" y="277992"/>
                </a:cubicBezTo>
                <a:cubicBezTo>
                  <a:pt x="8069828" y="265704"/>
                  <a:pt x="8060450" y="256488"/>
                  <a:pt x="8047945" y="256488"/>
                </a:cubicBezTo>
                <a:cubicBezTo>
                  <a:pt x="8029188" y="256488"/>
                  <a:pt x="8029188" y="256488"/>
                  <a:pt x="8029188" y="256488"/>
                </a:cubicBezTo>
                <a:cubicBezTo>
                  <a:pt x="8029188" y="400868"/>
                  <a:pt x="8029188" y="400868"/>
                  <a:pt x="8029188" y="400868"/>
                </a:cubicBezTo>
                <a:cubicBezTo>
                  <a:pt x="7938530" y="284136"/>
                  <a:pt x="7938530" y="284136"/>
                  <a:pt x="7938530" y="284136"/>
                </a:cubicBezTo>
                <a:cubicBezTo>
                  <a:pt x="7922899" y="268776"/>
                  <a:pt x="7916647" y="256488"/>
                  <a:pt x="7894764" y="256488"/>
                </a:cubicBezTo>
                <a:cubicBezTo>
                  <a:pt x="7866628" y="256488"/>
                  <a:pt x="7866628" y="256488"/>
                  <a:pt x="7866628" y="256488"/>
                </a:cubicBezTo>
                <a:close/>
                <a:moveTo>
                  <a:pt x="8738166" y="237438"/>
                </a:moveTo>
                <a:cubicBezTo>
                  <a:pt x="8738166" y="493025"/>
                  <a:pt x="8738166" y="493025"/>
                  <a:pt x="8738166" y="493025"/>
                </a:cubicBezTo>
                <a:cubicBezTo>
                  <a:pt x="8793729" y="493025"/>
                  <a:pt x="8793729" y="493025"/>
                  <a:pt x="8793729" y="493025"/>
                </a:cubicBezTo>
                <a:cubicBezTo>
                  <a:pt x="8793729" y="274390"/>
                  <a:pt x="8793729" y="274390"/>
                  <a:pt x="8793729" y="274390"/>
                </a:cubicBezTo>
                <a:cubicBezTo>
                  <a:pt x="8793729" y="252835"/>
                  <a:pt x="8778295" y="237438"/>
                  <a:pt x="8759774" y="237438"/>
                </a:cubicBezTo>
                <a:cubicBezTo>
                  <a:pt x="8738166" y="237438"/>
                  <a:pt x="8738166" y="237438"/>
                  <a:pt x="8738166" y="237438"/>
                </a:cubicBezTo>
                <a:close/>
                <a:moveTo>
                  <a:pt x="8315891" y="237438"/>
                </a:moveTo>
                <a:cubicBezTo>
                  <a:pt x="8315891" y="493025"/>
                  <a:pt x="8315891" y="493025"/>
                  <a:pt x="8315891" y="493025"/>
                </a:cubicBezTo>
                <a:cubicBezTo>
                  <a:pt x="8393965" y="493025"/>
                  <a:pt x="8393965" y="493025"/>
                  <a:pt x="8393965" y="493025"/>
                </a:cubicBezTo>
                <a:cubicBezTo>
                  <a:pt x="8465793" y="493025"/>
                  <a:pt x="8506391" y="456073"/>
                  <a:pt x="8506391" y="388327"/>
                </a:cubicBezTo>
                <a:cubicBezTo>
                  <a:pt x="8506391" y="342136"/>
                  <a:pt x="8475161" y="308263"/>
                  <a:pt x="8431440" y="308263"/>
                </a:cubicBezTo>
                <a:cubicBezTo>
                  <a:pt x="8409580" y="308263"/>
                  <a:pt x="8390842" y="317502"/>
                  <a:pt x="8381473" y="326740"/>
                </a:cubicBezTo>
                <a:cubicBezTo>
                  <a:pt x="8381473" y="274391"/>
                  <a:pt x="8381473" y="274391"/>
                  <a:pt x="8381473" y="274391"/>
                </a:cubicBezTo>
                <a:cubicBezTo>
                  <a:pt x="8381473" y="252835"/>
                  <a:pt x="8362735" y="237438"/>
                  <a:pt x="8340875" y="237438"/>
                </a:cubicBezTo>
                <a:cubicBezTo>
                  <a:pt x="8315891" y="237438"/>
                  <a:pt x="8315891" y="237438"/>
                  <a:pt x="8315891" y="237438"/>
                </a:cubicBezTo>
                <a:close/>
                <a:moveTo>
                  <a:pt x="7268141" y="237438"/>
                </a:moveTo>
                <a:cubicBezTo>
                  <a:pt x="7268141" y="493025"/>
                  <a:pt x="7268141" y="493025"/>
                  <a:pt x="7268141" y="493025"/>
                </a:cubicBezTo>
                <a:cubicBezTo>
                  <a:pt x="7333229" y="493025"/>
                  <a:pt x="7333229" y="493025"/>
                  <a:pt x="7333229" y="493025"/>
                </a:cubicBezTo>
                <a:cubicBezTo>
                  <a:pt x="7333229" y="465696"/>
                  <a:pt x="7333229" y="441783"/>
                  <a:pt x="7333229" y="420859"/>
                </a:cubicBezTo>
                <a:lnTo>
                  <a:pt x="7333229" y="394758"/>
                </a:lnTo>
                <a:lnTo>
                  <a:pt x="7354980" y="433815"/>
                </a:lnTo>
                <a:cubicBezTo>
                  <a:pt x="7370852" y="462317"/>
                  <a:pt x="7370852" y="462317"/>
                  <a:pt x="7370852" y="462317"/>
                </a:cubicBezTo>
                <a:cubicBezTo>
                  <a:pt x="7380258" y="483813"/>
                  <a:pt x="7383393" y="493026"/>
                  <a:pt x="7405341" y="493026"/>
                </a:cubicBezTo>
                <a:cubicBezTo>
                  <a:pt x="7458641" y="493026"/>
                  <a:pt x="7458641" y="493026"/>
                  <a:pt x="7458641" y="493026"/>
                </a:cubicBezTo>
                <a:cubicBezTo>
                  <a:pt x="7455506" y="489955"/>
                  <a:pt x="7452371" y="486884"/>
                  <a:pt x="7446100" y="477671"/>
                </a:cubicBezTo>
                <a:cubicBezTo>
                  <a:pt x="7395935" y="379402"/>
                  <a:pt x="7395935" y="379402"/>
                  <a:pt x="7395935" y="379402"/>
                </a:cubicBezTo>
                <a:cubicBezTo>
                  <a:pt x="7455506" y="305701"/>
                  <a:pt x="7455506" y="305701"/>
                  <a:pt x="7455506" y="305701"/>
                </a:cubicBezTo>
                <a:cubicBezTo>
                  <a:pt x="7402205" y="305701"/>
                  <a:pt x="7402205" y="305701"/>
                  <a:pt x="7402205" y="305701"/>
                </a:cubicBezTo>
                <a:cubicBezTo>
                  <a:pt x="7350473" y="372493"/>
                  <a:pt x="7337539" y="389191"/>
                  <a:pt x="7334306" y="393365"/>
                </a:cubicBezTo>
                <a:lnTo>
                  <a:pt x="7333229" y="394755"/>
                </a:lnTo>
                <a:lnTo>
                  <a:pt x="7333229" y="366627"/>
                </a:lnTo>
                <a:cubicBezTo>
                  <a:pt x="7333229" y="274391"/>
                  <a:pt x="7333229" y="274391"/>
                  <a:pt x="7333229" y="274391"/>
                </a:cubicBezTo>
                <a:cubicBezTo>
                  <a:pt x="7333229" y="252835"/>
                  <a:pt x="7314633" y="237438"/>
                  <a:pt x="7289837" y="237438"/>
                </a:cubicBezTo>
                <a:cubicBezTo>
                  <a:pt x="7268141" y="237438"/>
                  <a:pt x="7268141" y="237438"/>
                  <a:pt x="7268141" y="237438"/>
                </a:cubicBezTo>
                <a:close/>
                <a:moveTo>
                  <a:pt x="8932543" y="0"/>
                </a:moveTo>
                <a:lnTo>
                  <a:pt x="9143999" y="0"/>
                </a:lnTo>
                <a:lnTo>
                  <a:pt x="9143999" y="5144400"/>
                </a:lnTo>
                <a:lnTo>
                  <a:pt x="9027314" y="5144400"/>
                </a:lnTo>
                <a:lnTo>
                  <a:pt x="9009627" y="5144400"/>
                </a:lnTo>
                <a:lnTo>
                  <a:pt x="8932543" y="5144400"/>
                </a:lnTo>
                <a:lnTo>
                  <a:pt x="8853155" y="5144400"/>
                </a:lnTo>
                <a:lnTo>
                  <a:pt x="0" y="5144400"/>
                </a:lnTo>
                <a:lnTo>
                  <a:pt x="0" y="902"/>
                </a:lnTo>
                <a:lnTo>
                  <a:pt x="8853155" y="902"/>
                </a:lnTo>
                <a:lnTo>
                  <a:pt x="8853155" y="900"/>
                </a:lnTo>
                <a:lnTo>
                  <a:pt x="8932543" y="900"/>
                </a:lnTo>
                <a:close/>
              </a:path>
            </a:pathLst>
          </a:custGeom>
          <a:solidFill>
            <a:srgbClr val="B9C9D0">
              <a:alpha val="50000"/>
            </a:srgbClr>
          </a:solidFill>
        </p:spPr>
        <p:txBody>
          <a:bodyPr wrap="square" bIns="720000" anchor="ctr" anchorCtr="0">
            <a:noAutofit/>
          </a:bodyPr>
          <a:lstStyle>
            <a:lvl1pPr algn="ctr">
              <a:defRPr sz="1200"/>
            </a:lvl1pPr>
          </a:lstStyle>
          <a:p>
            <a:r>
              <a:rPr lang="en-US" noProof="0"/>
              <a:t>Click icon to add picture</a:t>
            </a:r>
            <a:endParaRPr lang="en-US" noProof="0" dirty="0"/>
          </a:p>
        </p:txBody>
      </p:sp>
      <p:graphicFrame>
        <p:nvGraphicFramePr>
          <p:cNvPr id="24" name="Object 2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24" name="Object 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8" name="Group 27"/>
          <p:cNvGrpSpPr/>
          <p:nvPr/>
        </p:nvGrpSpPr>
        <p:grpSpPr bwMode="gray">
          <a:xfrm>
            <a:off x="9286875" y="182684"/>
            <a:ext cx="1581150" cy="3229876"/>
            <a:chOff x="9286875" y="182684"/>
            <a:chExt cx="1581150" cy="3229876"/>
          </a:xfrm>
        </p:grpSpPr>
        <p:sp>
          <p:nvSpPr>
            <p:cNvPr id="29" name="Rectangle 28"/>
            <p:cNvSpPr/>
            <p:nvPr/>
          </p:nvSpPr>
          <p:spPr bwMode="gray">
            <a:xfrm>
              <a:off x="9288779" y="182684"/>
              <a:ext cx="1579245"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dirty="0">
                  <a:solidFill>
                    <a:schemeClr val="tx1"/>
                  </a:solidFill>
                </a:rPr>
                <a:t>Crop picture</a:t>
              </a:r>
            </a:p>
            <a:p>
              <a:pPr algn="l"/>
              <a:r>
                <a:rPr lang="en-US" sz="900" b="0" dirty="0">
                  <a:solidFill>
                    <a:schemeClr val="tx1"/>
                  </a:solidFill>
                </a:rPr>
                <a:t>Select picture &gt; click</a:t>
              </a:r>
              <a:r>
                <a:rPr lang="en-US" sz="900" b="0" baseline="0" dirty="0">
                  <a:solidFill>
                    <a:schemeClr val="tx1"/>
                  </a:solidFill>
                </a:rPr>
                <a:t> on tab “Picture Tools &gt; Format”</a:t>
              </a:r>
              <a:endParaRPr lang="en-US" sz="900" b="0" dirty="0">
                <a:solidFill>
                  <a:schemeClr val="tx1"/>
                </a:solidFill>
              </a:endParaRPr>
            </a:p>
          </p:txBody>
        </p:sp>
        <p:sp>
          <p:nvSpPr>
            <p:cNvPr id="30" name="Rectangle 29"/>
            <p:cNvSpPr/>
            <p:nvPr/>
          </p:nvSpPr>
          <p:spPr bwMode="gray">
            <a:xfrm>
              <a:off x="9288780" y="1261435"/>
              <a:ext cx="1579244" cy="1662924"/>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dirty="0">
                  <a:solidFill>
                    <a:schemeClr val="tx1"/>
                  </a:solidFill>
                </a:rPr>
                <a:t>Click</a:t>
              </a:r>
              <a:r>
                <a:rPr lang="en-US" sz="900" b="0" baseline="0" dirty="0">
                  <a:solidFill>
                    <a:schemeClr val="tx1"/>
                  </a:solidFill>
                </a:rPr>
                <a:t> on the icon </a:t>
              </a:r>
              <a:br>
                <a:rPr lang="en-US" sz="900" b="0" baseline="0" dirty="0">
                  <a:solidFill>
                    <a:schemeClr val="tx1"/>
                  </a:solidFill>
                </a:rPr>
              </a:br>
              <a:r>
                <a:rPr lang="en-US" sz="900" b="0" baseline="0" dirty="0">
                  <a:solidFill>
                    <a:schemeClr val="tx1"/>
                  </a:solidFill>
                </a:rPr>
                <a:t>above “Crop”</a:t>
              </a:r>
            </a:p>
            <a:p>
              <a:pPr algn="l"/>
              <a:endParaRPr lang="en-US" sz="900" b="0" baseline="0" dirty="0">
                <a:solidFill>
                  <a:schemeClr val="tx1"/>
                </a:solidFill>
              </a:endParaRPr>
            </a:p>
            <a:p>
              <a:pPr algn="l"/>
              <a:r>
                <a:rPr lang="en-US" sz="900" b="0" baseline="0" dirty="0">
                  <a:solidFill>
                    <a:schemeClr val="tx1"/>
                  </a:solidFill>
                </a:rPr>
                <a:t>You will see crop and scale markers on the corners</a:t>
              </a:r>
              <a:endParaRPr lang="en-US" sz="900" b="0" dirty="0">
                <a:solidFill>
                  <a:schemeClr val="tx1"/>
                </a:solidFill>
              </a:endParaRPr>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35" name="Picture 34"/>
            <p:cNvPicPr>
              <a:picLocks noChangeAspect="1"/>
            </p:cNvPicPr>
            <p:nvPr/>
          </p:nvPicPr>
          <p:blipFill rotWithShape="1">
            <a:blip r:embed="rId7">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36" name="Picture 35"/>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37" name="Picture 36"/>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38" name="Rectangle 37"/>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39" name="Rectangle 38"/>
            <p:cNvSpPr/>
            <p:nvPr/>
          </p:nvSpPr>
          <p:spPr bwMode="gray">
            <a:xfrm>
              <a:off x="9288780" y="2924359"/>
              <a:ext cx="1579244"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dirty="0">
                  <a:solidFill>
                    <a:schemeClr val="tx1"/>
                  </a:solidFill>
                </a:rPr>
                <a:t>Use the “circular scale icon” to scale your picture within the cropped region.</a:t>
              </a:r>
            </a:p>
          </p:txBody>
        </p:sp>
        <p:cxnSp>
          <p:nvCxnSpPr>
            <p:cNvPr id="40" name="Straight Arrow Connector 39"/>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1" idx="0"/>
              <a:endCxn id="31" idx="2"/>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31" idx="3"/>
              <a:endCxn id="31" idx="1"/>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Oval 63"/>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sp>
        <p:nvSpPr>
          <p:cNvPr id="56" name="Text Placeholder 55"/>
          <p:cNvSpPr>
            <a:spLocks noGrp="1"/>
          </p:cNvSpPr>
          <p:nvPr>
            <p:ph type="body" sz="quarter" idx="19" hasCustomPrompt="1"/>
          </p:nvPr>
        </p:nvSpPr>
        <p:spPr bwMode="gray">
          <a:xfrm>
            <a:off x="0" y="-221258"/>
            <a:ext cx="36000" cy="36000"/>
          </a:xfrm>
          <a:custGeom>
            <a:avLst/>
            <a:gdLst>
              <a:gd name="connsiteX0" fmla="*/ 89445 w 360383"/>
              <a:gd name="connsiteY0" fmla="*/ 0 h 360000"/>
              <a:gd name="connsiteX1" fmla="*/ 360383 w 360383"/>
              <a:gd name="connsiteY1" fmla="*/ 0 h 360000"/>
              <a:gd name="connsiteX2" fmla="*/ 360383 w 360383"/>
              <a:gd name="connsiteY2" fmla="*/ 270162 h 360000"/>
              <a:gd name="connsiteX3" fmla="*/ 270938 w 360383"/>
              <a:gd name="connsiteY3" fmla="*/ 360000 h 360000"/>
              <a:gd name="connsiteX4" fmla="*/ 270938 w 360383"/>
              <a:gd name="connsiteY4" fmla="*/ 89189 h 360000"/>
              <a:gd name="connsiteX5" fmla="*/ 0 w 360383"/>
              <a:gd name="connsiteY5" fmla="*/ 89189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383" h="360000">
                <a:moveTo>
                  <a:pt x="89445" y="0"/>
                </a:moveTo>
                <a:lnTo>
                  <a:pt x="360383" y="0"/>
                </a:lnTo>
                <a:lnTo>
                  <a:pt x="360383" y="270162"/>
                </a:lnTo>
                <a:lnTo>
                  <a:pt x="270938" y="360000"/>
                </a:lnTo>
                <a:lnTo>
                  <a:pt x="270938" y="89189"/>
                </a:lnTo>
                <a:lnTo>
                  <a:pt x="0" y="89189"/>
                </a:lnTo>
                <a:close/>
              </a:path>
            </a:pathLst>
          </a:custGeom>
          <a:noFill/>
        </p:spPr>
        <p:txBody>
          <a:bodyPr wrap="square">
            <a:noAutofit/>
          </a:bodyPr>
          <a:lstStyle>
            <a:lvl1pPr>
              <a:defRPr/>
            </a:lvl1pPr>
          </a:lstStyle>
          <a:p>
            <a:pPr lvl="0"/>
            <a:r>
              <a:rPr lang="en-US"/>
              <a:t>  </a:t>
            </a:r>
            <a:endParaRPr lang="en-GB"/>
          </a:p>
        </p:txBody>
      </p:sp>
      <p:sp>
        <p:nvSpPr>
          <p:cNvPr id="43" name="Title 1"/>
          <p:cNvSpPr>
            <a:spLocks noGrp="1"/>
          </p:cNvSpPr>
          <p:nvPr>
            <p:ph type="title" hasCustomPrompt="1"/>
          </p:nvPr>
        </p:nvSpPr>
        <p:spPr bwMode="gray">
          <a:xfrm>
            <a:off x="352424" y="252000"/>
            <a:ext cx="4428000" cy="895662"/>
          </a:xfrm>
          <a:solidFill>
            <a:schemeClr val="bg1">
              <a:alpha val="90000"/>
            </a:schemeClr>
          </a:solidFill>
        </p:spPr>
        <p:txBody>
          <a:bodyPr wrap="square" lIns="100800" tIns="126000" rIns="100800" bIns="126000" anchor="t" anchorCtr="0">
            <a:noAutofit/>
          </a:bodyPr>
          <a:lstStyle>
            <a:lvl1pPr>
              <a:defRPr/>
            </a:lvl1pPr>
          </a:lstStyle>
          <a:p>
            <a:r>
              <a:rPr lang="en-US" dirty="0"/>
              <a:t>Click to edit Master title style </a:t>
            </a:r>
            <a:endParaRPr lang="nl-NL" dirty="0"/>
          </a:p>
        </p:txBody>
      </p:sp>
    </p:spTree>
    <p:extLst>
      <p:ext uri="{BB962C8B-B14F-4D97-AF65-F5344CB8AC3E}">
        <p14:creationId xmlns:p14="http://schemas.microsoft.com/office/powerpoint/2010/main" val="5461348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Slim Image Slide">
    <p:spTree>
      <p:nvGrpSpPr>
        <p:cNvPr id="1" name=""/>
        <p:cNvGrpSpPr/>
        <p:nvPr/>
      </p:nvGrpSpPr>
      <p:grpSpPr>
        <a:xfrm>
          <a:off x="0" y="0"/>
          <a:ext cx="0" cy="0"/>
          <a:chOff x="0" y="0"/>
          <a:chExt cx="0" cy="0"/>
        </a:xfrm>
      </p:grpSpPr>
      <p:sp>
        <p:nvSpPr>
          <p:cNvPr id="11" name="Text Placeholder 10"/>
          <p:cNvSpPr>
            <a:spLocks noGrp="1"/>
          </p:cNvSpPr>
          <p:nvPr>
            <p:ph type="body" sz="quarter" idx="12"/>
          </p:nvPr>
        </p:nvSpPr>
        <p:spPr bwMode="gray">
          <a:xfrm>
            <a:off x="352424" y="974122"/>
            <a:ext cx="6292101"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Picture Placeholder 12"/>
          <p:cNvSpPr>
            <a:spLocks noGrp="1"/>
          </p:cNvSpPr>
          <p:nvPr>
            <p:ph type="pic" sz="quarter" idx="13"/>
          </p:nvPr>
        </p:nvSpPr>
        <p:spPr bwMode="gray">
          <a:xfrm>
            <a:off x="6793575" y="974123"/>
            <a:ext cx="2350426" cy="3527999"/>
          </a:xfrm>
          <a:noFill/>
        </p:spPr>
        <p:txBody>
          <a:bodyPr/>
          <a:lstStyle>
            <a:lvl1pPr>
              <a:defRPr sz="1200" b="0"/>
            </a:lvl1pPr>
          </a:lstStyle>
          <a:p>
            <a:r>
              <a:rPr lang="en-US"/>
              <a:t>Click icon to add picture</a:t>
            </a:r>
            <a:endParaRPr lang="en-US" dirty="0"/>
          </a:p>
        </p:txBody>
      </p:sp>
      <p:sp>
        <p:nvSpPr>
          <p:cNvPr id="12" name="Picture Placeholder 13"/>
          <p:cNvSpPr>
            <a:spLocks noGrp="1"/>
          </p:cNvSpPr>
          <p:nvPr>
            <p:ph type="pic" sz="quarter" idx="21"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14" name="Text Placeholder 4"/>
          <p:cNvSpPr>
            <a:spLocks noGrp="1"/>
          </p:cNvSpPr>
          <p:nvPr>
            <p:ph type="body" sz="quarter" idx="22"/>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3" name="Footer Placeholder 2"/>
          <p:cNvSpPr>
            <a:spLocks noGrp="1"/>
          </p:cNvSpPr>
          <p:nvPr>
            <p:ph type="ftr" sz="quarter" idx="23"/>
          </p:nvPr>
        </p:nvSpPr>
        <p:spPr bwMode="gray"/>
        <p:txBody>
          <a:bodyPr/>
          <a:lstStyle/>
          <a:p>
            <a:r>
              <a:rPr lang="en-US" noProof="0"/>
              <a:t>Business unit | Footer</a:t>
            </a:r>
            <a:endParaRPr lang="en-US" noProof="0" dirty="0"/>
          </a:p>
        </p:txBody>
      </p:sp>
      <p:sp>
        <p:nvSpPr>
          <p:cNvPr id="4" name="Slide Number Placeholder 3"/>
          <p:cNvSpPr>
            <a:spLocks noGrp="1"/>
          </p:cNvSpPr>
          <p:nvPr>
            <p:ph type="sldNum" sz="quarter" idx="24"/>
          </p:nvPr>
        </p:nvSpPr>
        <p:spPr bwMode="gray"/>
        <p:txBody>
          <a:bodyPr/>
          <a:lstStyle/>
          <a:p>
            <a:pPr>
              <a:defRPr/>
            </a:pPr>
            <a:fld id="{537E2E77-CED1-4E84-91C2-4E0176ECD4FC}" type="slidenum">
              <a:rPr lang="en-US" smtClean="0"/>
              <a:pPr>
                <a:defRPr/>
              </a:pPr>
              <a:t>‹#›</a:t>
            </a:fld>
            <a:endParaRPr lang="en-US" dirty="0"/>
          </a:p>
        </p:txBody>
      </p:sp>
      <p:sp>
        <p:nvSpPr>
          <p:cNvPr id="5" name="Title 4">
            <a:extLst>
              <a:ext uri="{FF2B5EF4-FFF2-40B4-BE49-F238E27FC236}">
                <a16:creationId xmlns:a16="http://schemas.microsoft.com/office/drawing/2014/main" id="{22F4D4E4-EC74-416E-99DD-BCA3152C364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061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and Slim Text">
    <p:spTree>
      <p:nvGrpSpPr>
        <p:cNvPr id="1" name=""/>
        <p:cNvGrpSpPr/>
        <p:nvPr/>
      </p:nvGrpSpPr>
      <p:grpSpPr>
        <a:xfrm>
          <a:off x="0" y="0"/>
          <a:ext cx="0" cy="0"/>
          <a:chOff x="0" y="0"/>
          <a:chExt cx="0" cy="0"/>
        </a:xfrm>
      </p:grpSpPr>
      <p:sp>
        <p:nvSpPr>
          <p:cNvPr id="19" name="Picture Placeholder 12"/>
          <p:cNvSpPr>
            <a:spLocks noGrp="1"/>
          </p:cNvSpPr>
          <p:nvPr>
            <p:ph type="pic" sz="quarter" idx="15"/>
          </p:nvPr>
        </p:nvSpPr>
        <p:spPr bwMode="gray">
          <a:xfrm>
            <a:off x="0" y="974122"/>
            <a:ext cx="6644525" cy="3528000"/>
          </a:xfrm>
        </p:spPr>
        <p:txBody>
          <a:bodyPr/>
          <a:lstStyle>
            <a:lvl1pPr>
              <a:defRPr sz="1200" b="0"/>
            </a:lvl1pPr>
          </a:lstStyle>
          <a:p>
            <a:r>
              <a:rPr lang="en-US"/>
              <a:t>Click icon to add picture</a:t>
            </a:r>
            <a:endParaRPr lang="en-US" dirty="0"/>
          </a:p>
        </p:txBody>
      </p:sp>
      <p:sp>
        <p:nvSpPr>
          <p:cNvPr id="10" name="Text Placeholder 9"/>
          <p:cNvSpPr>
            <a:spLocks noGrp="1"/>
          </p:cNvSpPr>
          <p:nvPr>
            <p:ph type="body" sz="quarter" idx="16"/>
          </p:nvPr>
        </p:nvSpPr>
        <p:spPr bwMode="gray">
          <a:xfrm>
            <a:off x="6793575" y="974122"/>
            <a:ext cx="199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3"/>
          <p:cNvSpPr>
            <a:spLocks noGrp="1"/>
          </p:cNvSpPr>
          <p:nvPr>
            <p:ph type="pic" sz="quarter" idx="21"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14" name="Text Placeholder 4"/>
          <p:cNvSpPr>
            <a:spLocks noGrp="1"/>
          </p:cNvSpPr>
          <p:nvPr>
            <p:ph type="body" sz="quarter" idx="22"/>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2" name="Footer Placeholder 1"/>
          <p:cNvSpPr>
            <a:spLocks noGrp="1"/>
          </p:cNvSpPr>
          <p:nvPr>
            <p:ph type="ftr" sz="quarter" idx="24"/>
          </p:nvPr>
        </p:nvSpPr>
        <p:spPr bwMode="gray"/>
        <p:txBody>
          <a:bodyPr/>
          <a:lstStyle/>
          <a:p>
            <a:r>
              <a:rPr lang="en-US" noProof="0"/>
              <a:t>Business unit | Footer</a:t>
            </a:r>
            <a:endParaRPr lang="en-US" noProof="0" dirty="0"/>
          </a:p>
        </p:txBody>
      </p:sp>
      <p:sp>
        <p:nvSpPr>
          <p:cNvPr id="3" name="Slide Number Placeholder 2"/>
          <p:cNvSpPr>
            <a:spLocks noGrp="1"/>
          </p:cNvSpPr>
          <p:nvPr>
            <p:ph type="sldNum" sz="quarter" idx="25"/>
          </p:nvPr>
        </p:nvSpPr>
        <p:spPr bwMode="gray"/>
        <p:txBody>
          <a:bodyPr/>
          <a:lstStyle/>
          <a:p>
            <a:pPr>
              <a:defRPr/>
            </a:pPr>
            <a:fld id="{537E2E77-CED1-4E84-91C2-4E0176ECD4FC}" type="slidenum">
              <a:rPr lang="en-US" smtClean="0"/>
              <a:pPr>
                <a:defRPr/>
              </a:pPr>
              <a:t>‹#›</a:t>
            </a:fld>
            <a:endParaRPr lang="en-US" dirty="0"/>
          </a:p>
        </p:txBody>
      </p:sp>
      <p:sp>
        <p:nvSpPr>
          <p:cNvPr id="4" name="Title 3">
            <a:extLst>
              <a:ext uri="{FF2B5EF4-FFF2-40B4-BE49-F238E27FC236}">
                <a16:creationId xmlns:a16="http://schemas.microsoft.com/office/drawing/2014/main" id="{85587C2C-ABCA-4658-9504-F54DF4DD3C4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02660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Full Image with AkzoNobel logo white">
    <p:bg>
      <p:bgPr>
        <a:solidFill>
          <a:srgbClr val="FFFFFF"/>
        </a:solidFill>
        <a:effectLst/>
      </p:bgPr>
    </p:bg>
    <p:spTree>
      <p:nvGrpSpPr>
        <p:cNvPr id="1" name=""/>
        <p:cNvGrpSpPr/>
        <p:nvPr/>
      </p:nvGrpSpPr>
      <p:grpSpPr>
        <a:xfrm>
          <a:off x="0" y="0"/>
          <a:ext cx="0" cy="0"/>
          <a:chOff x="0" y="0"/>
          <a:chExt cx="0" cy="0"/>
        </a:xfrm>
      </p:grpSpPr>
      <p:sp>
        <p:nvSpPr>
          <p:cNvPr id="32" name="Freeform: Shape 31">
            <a:extLst>
              <a:ext uri="{FF2B5EF4-FFF2-40B4-BE49-F238E27FC236}">
                <a16:creationId xmlns:a16="http://schemas.microsoft.com/office/drawing/2014/main" id="{7CA6C25D-B479-48F3-AFA4-5D5152C38BDD}"/>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nvGrpSpPr>
          <p:cNvPr id="111" name="Group 33"/>
          <p:cNvGrpSpPr>
            <a:grpSpLocks noChangeAspect="1"/>
          </p:cNvGrpSpPr>
          <p:nvPr/>
        </p:nvGrpSpPr>
        <p:grpSpPr bwMode="gray">
          <a:xfrm>
            <a:off x="7014468" y="236463"/>
            <a:ext cx="1779160" cy="259200"/>
            <a:chOff x="1430338" y="-1666875"/>
            <a:chExt cx="4968876" cy="723900"/>
          </a:xfrm>
          <a:solidFill>
            <a:srgbClr val="FFFFFF"/>
          </a:solidFill>
        </p:grpSpPr>
        <p:sp>
          <p:nvSpPr>
            <p:cNvPr id="112" name="Freeform 111"/>
            <p:cNvSpPr>
              <a:spLocks/>
            </p:cNvSpPr>
            <p:nvPr/>
          </p:nvSpPr>
          <p:spPr bwMode="gray">
            <a:xfrm>
              <a:off x="2705101" y="-1463675"/>
              <a:ext cx="447675" cy="509588"/>
            </a:xfrm>
            <a:custGeom>
              <a:avLst/>
              <a:gdLst/>
              <a:ahLst/>
              <a:cxnLst>
                <a:cxn ang="0">
                  <a:pos x="2" y="136"/>
                </a:cxn>
                <a:cxn ang="0">
                  <a:pos x="104" y="136"/>
                </a:cxn>
                <a:cxn ang="0">
                  <a:pos x="119" y="120"/>
                </a:cxn>
                <a:cxn ang="0">
                  <a:pos x="119" y="112"/>
                </a:cxn>
                <a:cxn ang="0">
                  <a:pos x="93" y="113"/>
                </a:cxn>
                <a:cxn ang="0">
                  <a:pos x="59" y="113"/>
                </a:cxn>
                <a:cxn ang="0">
                  <a:pos x="118" y="0"/>
                </a:cxn>
                <a:cxn ang="0">
                  <a:pos x="2" y="0"/>
                </a:cxn>
                <a:cxn ang="0">
                  <a:pos x="2" y="23"/>
                </a:cxn>
                <a:cxn ang="0">
                  <a:pos x="54" y="23"/>
                </a:cxn>
                <a:cxn ang="0">
                  <a:pos x="5" y="116"/>
                </a:cxn>
                <a:cxn ang="0">
                  <a:pos x="2" y="136"/>
                </a:cxn>
              </a:cxnLst>
              <a:rect l="0" t="0" r="r" b="b"/>
              <a:pathLst>
                <a:path w="119" h="136">
                  <a:moveTo>
                    <a:pt x="2" y="136"/>
                  </a:moveTo>
                  <a:cubicBezTo>
                    <a:pt x="104" y="136"/>
                    <a:pt x="104" y="136"/>
                    <a:pt x="104" y="136"/>
                  </a:cubicBezTo>
                  <a:cubicBezTo>
                    <a:pt x="113" y="136"/>
                    <a:pt x="119" y="129"/>
                    <a:pt x="119" y="120"/>
                  </a:cubicBezTo>
                  <a:cubicBezTo>
                    <a:pt x="119" y="112"/>
                    <a:pt x="119" y="112"/>
                    <a:pt x="119" y="112"/>
                  </a:cubicBezTo>
                  <a:cubicBezTo>
                    <a:pt x="115" y="113"/>
                    <a:pt x="107" y="113"/>
                    <a:pt x="93" y="113"/>
                  </a:cubicBezTo>
                  <a:cubicBezTo>
                    <a:pt x="59" y="113"/>
                    <a:pt x="59" y="113"/>
                    <a:pt x="59" y="113"/>
                  </a:cubicBezTo>
                  <a:cubicBezTo>
                    <a:pt x="118" y="0"/>
                    <a:pt x="118" y="0"/>
                    <a:pt x="118" y="0"/>
                  </a:cubicBezTo>
                  <a:cubicBezTo>
                    <a:pt x="2" y="0"/>
                    <a:pt x="2" y="0"/>
                    <a:pt x="2" y="0"/>
                  </a:cubicBezTo>
                  <a:cubicBezTo>
                    <a:pt x="2" y="23"/>
                    <a:pt x="2" y="23"/>
                    <a:pt x="2" y="23"/>
                  </a:cubicBezTo>
                  <a:cubicBezTo>
                    <a:pt x="54" y="23"/>
                    <a:pt x="54" y="23"/>
                    <a:pt x="54" y="23"/>
                  </a:cubicBezTo>
                  <a:cubicBezTo>
                    <a:pt x="5" y="116"/>
                    <a:pt x="5" y="116"/>
                    <a:pt x="5" y="116"/>
                  </a:cubicBezTo>
                  <a:cubicBezTo>
                    <a:pt x="1" y="124"/>
                    <a:pt x="0" y="131"/>
                    <a:pt x="2" y="13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5"/>
            <p:cNvSpPr>
              <a:spLocks/>
            </p:cNvSpPr>
            <p:nvPr/>
          </p:nvSpPr>
          <p:spPr bwMode="gray">
            <a:xfrm>
              <a:off x="2327276" y="-1463675"/>
              <a:ext cx="344488" cy="509588"/>
            </a:xfrm>
            <a:custGeom>
              <a:avLst/>
              <a:gdLst/>
              <a:ahLst/>
              <a:cxnLst>
                <a:cxn ang="0">
                  <a:pos x="0" y="64"/>
                </a:cxn>
                <a:cxn ang="0">
                  <a:pos x="27" y="115"/>
                </a:cxn>
                <a:cxn ang="0">
                  <a:pos x="54" y="136"/>
                </a:cxn>
                <a:cxn ang="0">
                  <a:pos x="92" y="136"/>
                </a:cxn>
                <a:cxn ang="0">
                  <a:pos x="84" y="124"/>
                </a:cxn>
                <a:cxn ang="0">
                  <a:pos x="46" y="53"/>
                </a:cxn>
                <a:cxn ang="0">
                  <a:pos x="91" y="0"/>
                </a:cxn>
                <a:cxn ang="0">
                  <a:pos x="50" y="0"/>
                </a:cxn>
                <a:cxn ang="0">
                  <a:pos x="0" y="64"/>
                </a:cxn>
              </a:cxnLst>
              <a:rect l="0" t="0" r="r" b="b"/>
              <a:pathLst>
                <a:path w="92" h="136">
                  <a:moveTo>
                    <a:pt x="0" y="64"/>
                  </a:moveTo>
                  <a:cubicBezTo>
                    <a:pt x="27" y="115"/>
                    <a:pt x="27" y="115"/>
                    <a:pt x="27" y="115"/>
                  </a:cubicBezTo>
                  <a:cubicBezTo>
                    <a:pt x="34" y="130"/>
                    <a:pt x="38" y="136"/>
                    <a:pt x="54" y="136"/>
                  </a:cubicBezTo>
                  <a:cubicBezTo>
                    <a:pt x="92" y="136"/>
                    <a:pt x="92" y="136"/>
                    <a:pt x="92" y="136"/>
                  </a:cubicBezTo>
                  <a:cubicBezTo>
                    <a:pt x="90" y="134"/>
                    <a:pt x="88" y="131"/>
                    <a:pt x="84" y="124"/>
                  </a:cubicBezTo>
                  <a:cubicBezTo>
                    <a:pt x="46" y="53"/>
                    <a:pt x="46" y="53"/>
                    <a:pt x="46" y="53"/>
                  </a:cubicBezTo>
                  <a:cubicBezTo>
                    <a:pt x="91" y="0"/>
                    <a:pt x="91" y="0"/>
                    <a:pt x="91" y="0"/>
                  </a:cubicBezTo>
                  <a:cubicBezTo>
                    <a:pt x="50" y="0"/>
                    <a:pt x="50" y="0"/>
                    <a:pt x="50" y="0"/>
                  </a:cubicBezTo>
                  <a:cubicBezTo>
                    <a:pt x="0" y="64"/>
                    <a:pt x="0" y="64"/>
                    <a:pt x="0"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6"/>
            <p:cNvSpPr>
              <a:spLocks/>
            </p:cNvSpPr>
            <p:nvPr/>
          </p:nvSpPr>
          <p:spPr bwMode="gray">
            <a:xfrm>
              <a:off x="2143126" y="-1666875"/>
              <a:ext cx="173038" cy="712788"/>
            </a:xfrm>
            <a:custGeom>
              <a:avLst/>
              <a:gdLst/>
              <a:ahLst/>
              <a:cxnLst>
                <a:cxn ang="0">
                  <a:pos x="0" y="190"/>
                </a:cxn>
                <a:cxn ang="0">
                  <a:pos x="46" y="190"/>
                </a:cxn>
                <a:cxn ang="0">
                  <a:pos x="46" y="28"/>
                </a:cxn>
                <a:cxn ang="0">
                  <a:pos x="17" y="0"/>
                </a:cxn>
                <a:cxn ang="0">
                  <a:pos x="0" y="0"/>
                </a:cxn>
                <a:cxn ang="0">
                  <a:pos x="0" y="190"/>
                </a:cxn>
              </a:cxnLst>
              <a:rect l="0" t="0" r="r" b="b"/>
              <a:pathLst>
                <a:path w="46" h="190">
                  <a:moveTo>
                    <a:pt x="0" y="190"/>
                  </a:moveTo>
                  <a:cubicBezTo>
                    <a:pt x="46" y="190"/>
                    <a:pt x="46" y="190"/>
                    <a:pt x="46" y="190"/>
                  </a:cubicBezTo>
                  <a:cubicBezTo>
                    <a:pt x="46" y="28"/>
                    <a:pt x="46" y="28"/>
                    <a:pt x="46" y="28"/>
                  </a:cubicBezTo>
                  <a:cubicBezTo>
                    <a:pt x="46" y="11"/>
                    <a:pt x="34" y="0"/>
                    <a:pt x="17"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7"/>
            <p:cNvSpPr>
              <a:spLocks noEditPoints="1"/>
            </p:cNvSpPr>
            <p:nvPr/>
          </p:nvSpPr>
          <p:spPr bwMode="gray">
            <a:xfrm>
              <a:off x="1430338" y="-1614488"/>
              <a:ext cx="652463" cy="660400"/>
            </a:xfrm>
            <a:custGeom>
              <a:avLst/>
              <a:gdLst/>
              <a:ahLst/>
              <a:cxnLst>
                <a:cxn ang="0">
                  <a:pos x="52" y="111"/>
                </a:cxn>
                <a:cxn ang="0">
                  <a:pos x="77" y="37"/>
                </a:cxn>
                <a:cxn ang="0">
                  <a:pos x="100" y="111"/>
                </a:cxn>
                <a:cxn ang="0">
                  <a:pos x="52" y="111"/>
                </a:cxn>
                <a:cxn ang="0">
                  <a:pos x="169" y="164"/>
                </a:cxn>
                <a:cxn ang="0">
                  <a:pos x="122" y="24"/>
                </a:cxn>
                <a:cxn ang="0">
                  <a:pos x="87" y="0"/>
                </a:cxn>
                <a:cxn ang="0">
                  <a:pos x="65" y="0"/>
                </a:cxn>
                <a:cxn ang="0">
                  <a:pos x="0" y="176"/>
                </a:cxn>
                <a:cxn ang="0">
                  <a:pos x="29" y="176"/>
                </a:cxn>
                <a:cxn ang="0">
                  <a:pos x="44" y="133"/>
                </a:cxn>
                <a:cxn ang="0">
                  <a:pos x="107" y="133"/>
                </a:cxn>
                <a:cxn ang="0">
                  <a:pos x="116" y="161"/>
                </a:cxn>
                <a:cxn ang="0">
                  <a:pos x="135" y="176"/>
                </a:cxn>
                <a:cxn ang="0">
                  <a:pos x="174" y="176"/>
                </a:cxn>
                <a:cxn ang="0">
                  <a:pos x="169" y="164"/>
                </a:cxn>
              </a:cxnLst>
              <a:rect l="0" t="0" r="r" b="b"/>
              <a:pathLst>
                <a:path w="174" h="176">
                  <a:moveTo>
                    <a:pt x="52" y="111"/>
                  </a:moveTo>
                  <a:cubicBezTo>
                    <a:pt x="77" y="37"/>
                    <a:pt x="77" y="37"/>
                    <a:pt x="77" y="37"/>
                  </a:cubicBezTo>
                  <a:cubicBezTo>
                    <a:pt x="100" y="111"/>
                    <a:pt x="100" y="111"/>
                    <a:pt x="100" y="111"/>
                  </a:cubicBezTo>
                  <a:cubicBezTo>
                    <a:pt x="52" y="111"/>
                    <a:pt x="52" y="111"/>
                    <a:pt x="52" y="111"/>
                  </a:cubicBezTo>
                  <a:close/>
                  <a:moveTo>
                    <a:pt x="169" y="164"/>
                  </a:moveTo>
                  <a:cubicBezTo>
                    <a:pt x="122" y="24"/>
                    <a:pt x="122" y="24"/>
                    <a:pt x="122" y="24"/>
                  </a:cubicBezTo>
                  <a:cubicBezTo>
                    <a:pt x="116" y="8"/>
                    <a:pt x="110" y="0"/>
                    <a:pt x="87" y="0"/>
                  </a:cubicBezTo>
                  <a:cubicBezTo>
                    <a:pt x="65" y="0"/>
                    <a:pt x="65" y="0"/>
                    <a:pt x="65" y="0"/>
                  </a:cubicBezTo>
                  <a:cubicBezTo>
                    <a:pt x="0" y="176"/>
                    <a:pt x="0" y="176"/>
                    <a:pt x="0" y="176"/>
                  </a:cubicBezTo>
                  <a:cubicBezTo>
                    <a:pt x="29" y="176"/>
                    <a:pt x="29" y="176"/>
                    <a:pt x="29" y="176"/>
                  </a:cubicBezTo>
                  <a:cubicBezTo>
                    <a:pt x="44" y="133"/>
                    <a:pt x="44" y="133"/>
                    <a:pt x="44" y="133"/>
                  </a:cubicBezTo>
                  <a:cubicBezTo>
                    <a:pt x="107" y="133"/>
                    <a:pt x="107" y="133"/>
                    <a:pt x="107" y="133"/>
                  </a:cubicBezTo>
                  <a:cubicBezTo>
                    <a:pt x="116" y="161"/>
                    <a:pt x="116" y="161"/>
                    <a:pt x="116" y="161"/>
                  </a:cubicBezTo>
                  <a:cubicBezTo>
                    <a:pt x="120" y="171"/>
                    <a:pt x="124" y="176"/>
                    <a:pt x="135" y="176"/>
                  </a:cubicBezTo>
                  <a:cubicBezTo>
                    <a:pt x="174" y="176"/>
                    <a:pt x="174" y="176"/>
                    <a:pt x="174" y="176"/>
                  </a:cubicBezTo>
                  <a:cubicBezTo>
                    <a:pt x="173" y="174"/>
                    <a:pt x="171" y="171"/>
                    <a:pt x="169" y="1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
            <p:cNvSpPr>
              <a:spLocks noEditPoints="1"/>
            </p:cNvSpPr>
            <p:nvPr/>
          </p:nvSpPr>
          <p:spPr bwMode="gray">
            <a:xfrm>
              <a:off x="3181351" y="-1474788"/>
              <a:ext cx="541338" cy="531813"/>
            </a:xfrm>
            <a:custGeom>
              <a:avLst/>
              <a:gdLst/>
              <a:ahLst/>
              <a:cxnLst>
                <a:cxn ang="0">
                  <a:pos x="72" y="117"/>
                </a:cxn>
                <a:cxn ang="0">
                  <a:pos x="51" y="70"/>
                </a:cxn>
                <a:cxn ang="0">
                  <a:pos x="72" y="24"/>
                </a:cxn>
                <a:cxn ang="0">
                  <a:pos x="93" y="73"/>
                </a:cxn>
                <a:cxn ang="0">
                  <a:pos x="72" y="117"/>
                </a:cxn>
                <a:cxn ang="0">
                  <a:pos x="72" y="142"/>
                </a:cxn>
                <a:cxn ang="0">
                  <a:pos x="144" y="68"/>
                </a:cxn>
                <a:cxn ang="0">
                  <a:pos x="73" y="0"/>
                </a:cxn>
                <a:cxn ang="0">
                  <a:pos x="0" y="75"/>
                </a:cxn>
                <a:cxn ang="0">
                  <a:pos x="72" y="142"/>
                </a:cxn>
              </a:cxnLst>
              <a:rect l="0" t="0" r="r" b="b"/>
              <a:pathLst>
                <a:path w="144" h="142">
                  <a:moveTo>
                    <a:pt x="72" y="117"/>
                  </a:moveTo>
                  <a:cubicBezTo>
                    <a:pt x="56" y="117"/>
                    <a:pt x="51" y="99"/>
                    <a:pt x="51" y="70"/>
                  </a:cubicBezTo>
                  <a:cubicBezTo>
                    <a:pt x="51" y="43"/>
                    <a:pt x="56" y="24"/>
                    <a:pt x="72" y="24"/>
                  </a:cubicBezTo>
                  <a:cubicBezTo>
                    <a:pt x="88" y="24"/>
                    <a:pt x="93" y="44"/>
                    <a:pt x="93" y="73"/>
                  </a:cubicBezTo>
                  <a:cubicBezTo>
                    <a:pt x="93" y="100"/>
                    <a:pt x="88" y="117"/>
                    <a:pt x="72" y="117"/>
                  </a:cubicBezTo>
                  <a:moveTo>
                    <a:pt x="72" y="142"/>
                  </a:moveTo>
                  <a:cubicBezTo>
                    <a:pt x="111" y="142"/>
                    <a:pt x="144" y="114"/>
                    <a:pt x="144" y="68"/>
                  </a:cubicBezTo>
                  <a:cubicBezTo>
                    <a:pt x="144" y="29"/>
                    <a:pt x="112" y="0"/>
                    <a:pt x="73" y="0"/>
                  </a:cubicBezTo>
                  <a:cubicBezTo>
                    <a:pt x="33" y="0"/>
                    <a:pt x="0" y="28"/>
                    <a:pt x="0" y="75"/>
                  </a:cubicBezTo>
                  <a:cubicBezTo>
                    <a:pt x="0" y="115"/>
                    <a:pt x="33" y="142"/>
                    <a:pt x="72"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9"/>
            <p:cNvSpPr>
              <a:spLocks/>
            </p:cNvSpPr>
            <p:nvPr/>
          </p:nvSpPr>
          <p:spPr bwMode="gray">
            <a:xfrm>
              <a:off x="3800476" y="-1617663"/>
              <a:ext cx="577850" cy="663575"/>
            </a:xfrm>
            <a:custGeom>
              <a:avLst/>
              <a:gdLst/>
              <a:ahLst/>
              <a:cxnLst>
                <a:cxn ang="0">
                  <a:pos x="0" y="177"/>
                </a:cxn>
                <a:cxn ang="0">
                  <a:pos x="30" y="177"/>
                </a:cxn>
                <a:cxn ang="0">
                  <a:pos x="30" y="65"/>
                </a:cxn>
                <a:cxn ang="0">
                  <a:pos x="104" y="154"/>
                </a:cxn>
                <a:cxn ang="0">
                  <a:pos x="133" y="177"/>
                </a:cxn>
                <a:cxn ang="0">
                  <a:pos x="154" y="177"/>
                </a:cxn>
                <a:cxn ang="0">
                  <a:pos x="154" y="16"/>
                </a:cxn>
                <a:cxn ang="0">
                  <a:pos x="138" y="0"/>
                </a:cxn>
                <a:cxn ang="0">
                  <a:pos x="125" y="0"/>
                </a:cxn>
                <a:cxn ang="0">
                  <a:pos x="125" y="107"/>
                </a:cxn>
                <a:cxn ang="0">
                  <a:pos x="54" y="21"/>
                </a:cxn>
                <a:cxn ang="0">
                  <a:pos x="22" y="0"/>
                </a:cxn>
                <a:cxn ang="0">
                  <a:pos x="0" y="0"/>
                </a:cxn>
                <a:cxn ang="0">
                  <a:pos x="0" y="177"/>
                </a:cxn>
              </a:cxnLst>
              <a:rect l="0" t="0" r="r" b="b"/>
              <a:pathLst>
                <a:path w="154" h="177">
                  <a:moveTo>
                    <a:pt x="0" y="177"/>
                  </a:moveTo>
                  <a:cubicBezTo>
                    <a:pt x="30" y="177"/>
                    <a:pt x="30" y="177"/>
                    <a:pt x="30" y="177"/>
                  </a:cubicBezTo>
                  <a:cubicBezTo>
                    <a:pt x="30" y="65"/>
                    <a:pt x="30" y="65"/>
                    <a:pt x="30" y="65"/>
                  </a:cubicBezTo>
                  <a:cubicBezTo>
                    <a:pt x="104" y="154"/>
                    <a:pt x="104" y="154"/>
                    <a:pt x="104" y="154"/>
                  </a:cubicBezTo>
                  <a:cubicBezTo>
                    <a:pt x="115" y="167"/>
                    <a:pt x="122" y="177"/>
                    <a:pt x="133" y="177"/>
                  </a:cubicBezTo>
                  <a:cubicBezTo>
                    <a:pt x="154" y="177"/>
                    <a:pt x="154" y="177"/>
                    <a:pt x="154" y="177"/>
                  </a:cubicBezTo>
                  <a:cubicBezTo>
                    <a:pt x="154" y="16"/>
                    <a:pt x="154" y="16"/>
                    <a:pt x="154" y="16"/>
                  </a:cubicBezTo>
                  <a:cubicBezTo>
                    <a:pt x="154" y="6"/>
                    <a:pt x="148" y="0"/>
                    <a:pt x="138" y="0"/>
                  </a:cubicBezTo>
                  <a:cubicBezTo>
                    <a:pt x="125" y="0"/>
                    <a:pt x="125" y="0"/>
                    <a:pt x="125" y="0"/>
                  </a:cubicBezTo>
                  <a:cubicBezTo>
                    <a:pt x="125" y="107"/>
                    <a:pt x="125" y="107"/>
                    <a:pt x="125" y="107"/>
                  </a:cubicBezTo>
                  <a:cubicBezTo>
                    <a:pt x="54" y="21"/>
                    <a:pt x="54" y="21"/>
                    <a:pt x="54" y="21"/>
                  </a:cubicBezTo>
                  <a:cubicBezTo>
                    <a:pt x="43" y="8"/>
                    <a:pt x="37" y="0"/>
                    <a:pt x="22" y="0"/>
                  </a:cubicBezTo>
                  <a:cubicBezTo>
                    <a:pt x="0" y="0"/>
                    <a:pt x="0" y="0"/>
                    <a:pt x="0" y="0"/>
                  </a:cubicBezTo>
                  <a:cubicBezTo>
                    <a:pt x="0" y="177"/>
                    <a:pt x="0" y="177"/>
                    <a:pt x="0" y="1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30"/>
            <p:cNvSpPr>
              <a:spLocks noEditPoints="1"/>
            </p:cNvSpPr>
            <p:nvPr/>
          </p:nvSpPr>
          <p:spPr bwMode="gray">
            <a:xfrm>
              <a:off x="4456113" y="-1474788"/>
              <a:ext cx="536575" cy="531813"/>
            </a:xfrm>
            <a:custGeom>
              <a:avLst/>
              <a:gdLst/>
              <a:ahLst/>
              <a:cxnLst>
                <a:cxn ang="0">
                  <a:pos x="72" y="117"/>
                </a:cxn>
                <a:cxn ang="0">
                  <a:pos x="50" y="70"/>
                </a:cxn>
                <a:cxn ang="0">
                  <a:pos x="72" y="24"/>
                </a:cxn>
                <a:cxn ang="0">
                  <a:pos x="93" y="73"/>
                </a:cxn>
                <a:cxn ang="0">
                  <a:pos x="72" y="117"/>
                </a:cxn>
                <a:cxn ang="0">
                  <a:pos x="71" y="142"/>
                </a:cxn>
                <a:cxn ang="0">
                  <a:pos x="143" y="68"/>
                </a:cxn>
                <a:cxn ang="0">
                  <a:pos x="72" y="0"/>
                </a:cxn>
                <a:cxn ang="0">
                  <a:pos x="0" y="75"/>
                </a:cxn>
                <a:cxn ang="0">
                  <a:pos x="71" y="142"/>
                </a:cxn>
              </a:cxnLst>
              <a:rect l="0" t="0" r="r" b="b"/>
              <a:pathLst>
                <a:path w="143" h="142">
                  <a:moveTo>
                    <a:pt x="72" y="117"/>
                  </a:moveTo>
                  <a:cubicBezTo>
                    <a:pt x="56" y="117"/>
                    <a:pt x="50" y="99"/>
                    <a:pt x="50" y="70"/>
                  </a:cubicBezTo>
                  <a:cubicBezTo>
                    <a:pt x="50" y="43"/>
                    <a:pt x="56" y="24"/>
                    <a:pt x="72" y="24"/>
                  </a:cubicBezTo>
                  <a:cubicBezTo>
                    <a:pt x="88" y="24"/>
                    <a:pt x="93" y="44"/>
                    <a:pt x="93" y="73"/>
                  </a:cubicBezTo>
                  <a:cubicBezTo>
                    <a:pt x="93" y="100"/>
                    <a:pt x="88" y="117"/>
                    <a:pt x="72" y="117"/>
                  </a:cubicBezTo>
                  <a:moveTo>
                    <a:pt x="71" y="142"/>
                  </a:moveTo>
                  <a:cubicBezTo>
                    <a:pt x="110" y="142"/>
                    <a:pt x="143" y="114"/>
                    <a:pt x="143" y="68"/>
                  </a:cubicBezTo>
                  <a:cubicBezTo>
                    <a:pt x="143" y="29"/>
                    <a:pt x="112" y="0"/>
                    <a:pt x="72" y="0"/>
                  </a:cubicBezTo>
                  <a:cubicBezTo>
                    <a:pt x="32" y="0"/>
                    <a:pt x="0" y="28"/>
                    <a:pt x="0" y="75"/>
                  </a:cubicBezTo>
                  <a:cubicBezTo>
                    <a:pt x="0" y="115"/>
                    <a:pt x="32" y="142"/>
                    <a:pt x="71"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31"/>
            <p:cNvSpPr>
              <a:spLocks noEditPoints="1"/>
            </p:cNvSpPr>
            <p:nvPr/>
          </p:nvSpPr>
          <p:spPr bwMode="gray">
            <a:xfrm>
              <a:off x="5645151" y="-1474788"/>
              <a:ext cx="506413" cy="531813"/>
            </a:xfrm>
            <a:custGeom>
              <a:avLst/>
              <a:gdLst/>
              <a:ahLst/>
              <a:cxnLst>
                <a:cxn ang="0">
                  <a:pos x="47" y="55"/>
                </a:cxn>
                <a:cxn ang="0">
                  <a:pos x="69" y="22"/>
                </a:cxn>
                <a:cxn ang="0">
                  <a:pos x="91" y="55"/>
                </a:cxn>
                <a:cxn ang="0">
                  <a:pos x="47" y="55"/>
                </a:cxn>
                <a:cxn ang="0">
                  <a:pos x="134" y="74"/>
                </a:cxn>
                <a:cxn ang="0">
                  <a:pos x="135" y="58"/>
                </a:cxn>
                <a:cxn ang="0">
                  <a:pos x="70" y="0"/>
                </a:cxn>
                <a:cxn ang="0">
                  <a:pos x="0" y="71"/>
                </a:cxn>
                <a:cxn ang="0">
                  <a:pos x="68" y="142"/>
                </a:cxn>
                <a:cxn ang="0">
                  <a:pos x="127" y="99"/>
                </a:cxn>
                <a:cxn ang="0">
                  <a:pos x="88" y="109"/>
                </a:cxn>
                <a:cxn ang="0">
                  <a:pos x="47" y="74"/>
                </a:cxn>
                <a:cxn ang="0">
                  <a:pos x="134" y="74"/>
                </a:cxn>
              </a:cxnLst>
              <a:rect l="0" t="0" r="r" b="b"/>
              <a:pathLst>
                <a:path w="135" h="142">
                  <a:moveTo>
                    <a:pt x="47" y="55"/>
                  </a:moveTo>
                  <a:cubicBezTo>
                    <a:pt x="48" y="35"/>
                    <a:pt x="56" y="22"/>
                    <a:pt x="69" y="22"/>
                  </a:cubicBezTo>
                  <a:cubicBezTo>
                    <a:pt x="88" y="22"/>
                    <a:pt x="91" y="55"/>
                    <a:pt x="91" y="55"/>
                  </a:cubicBezTo>
                  <a:cubicBezTo>
                    <a:pt x="47" y="55"/>
                    <a:pt x="47" y="55"/>
                    <a:pt x="47" y="55"/>
                  </a:cubicBezTo>
                  <a:close/>
                  <a:moveTo>
                    <a:pt x="134" y="74"/>
                  </a:moveTo>
                  <a:cubicBezTo>
                    <a:pt x="135" y="68"/>
                    <a:pt x="135" y="63"/>
                    <a:pt x="135" y="58"/>
                  </a:cubicBezTo>
                  <a:cubicBezTo>
                    <a:pt x="135" y="26"/>
                    <a:pt x="111" y="0"/>
                    <a:pt x="70" y="0"/>
                  </a:cubicBezTo>
                  <a:cubicBezTo>
                    <a:pt x="29" y="0"/>
                    <a:pt x="0" y="28"/>
                    <a:pt x="0" y="71"/>
                  </a:cubicBezTo>
                  <a:cubicBezTo>
                    <a:pt x="0" y="113"/>
                    <a:pt x="26" y="142"/>
                    <a:pt x="68" y="142"/>
                  </a:cubicBezTo>
                  <a:cubicBezTo>
                    <a:pt x="111" y="142"/>
                    <a:pt x="126" y="120"/>
                    <a:pt x="127" y="99"/>
                  </a:cubicBezTo>
                  <a:cubicBezTo>
                    <a:pt x="118" y="105"/>
                    <a:pt x="104" y="109"/>
                    <a:pt x="88" y="109"/>
                  </a:cubicBezTo>
                  <a:cubicBezTo>
                    <a:pt x="65" y="109"/>
                    <a:pt x="49" y="96"/>
                    <a:pt x="47" y="74"/>
                  </a:cubicBezTo>
                  <a:cubicBezTo>
                    <a:pt x="134" y="74"/>
                    <a:pt x="134" y="74"/>
                    <a:pt x="134"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32"/>
            <p:cNvSpPr>
              <a:spLocks noEditPoints="1"/>
            </p:cNvSpPr>
            <p:nvPr/>
          </p:nvSpPr>
          <p:spPr bwMode="gray">
            <a:xfrm>
              <a:off x="5072063" y="-1666875"/>
              <a:ext cx="509588" cy="712788"/>
            </a:xfrm>
            <a:custGeom>
              <a:avLst/>
              <a:gdLst/>
              <a:ahLst/>
              <a:cxnLst>
                <a:cxn ang="0">
                  <a:pos x="54" y="167"/>
                </a:cxn>
                <a:cxn ang="0">
                  <a:pos x="46" y="167"/>
                </a:cxn>
                <a:cxn ang="0">
                  <a:pos x="46" y="80"/>
                </a:cxn>
                <a:cxn ang="0">
                  <a:pos x="57" y="79"/>
                </a:cxn>
                <a:cxn ang="0">
                  <a:pos x="88" y="117"/>
                </a:cxn>
                <a:cxn ang="0">
                  <a:pos x="54" y="167"/>
                </a:cxn>
                <a:cxn ang="0">
                  <a:pos x="82" y="52"/>
                </a:cxn>
                <a:cxn ang="0">
                  <a:pos x="46" y="65"/>
                </a:cxn>
                <a:cxn ang="0">
                  <a:pos x="46" y="28"/>
                </a:cxn>
                <a:cxn ang="0">
                  <a:pos x="17" y="0"/>
                </a:cxn>
                <a:cxn ang="0">
                  <a:pos x="0" y="0"/>
                </a:cxn>
                <a:cxn ang="0">
                  <a:pos x="0" y="190"/>
                </a:cxn>
                <a:cxn ang="0">
                  <a:pos x="55" y="190"/>
                </a:cxn>
                <a:cxn ang="0">
                  <a:pos x="136" y="112"/>
                </a:cxn>
                <a:cxn ang="0">
                  <a:pos x="82" y="52"/>
                </a:cxn>
              </a:cxnLst>
              <a:rect l="0" t="0" r="r" b="b"/>
              <a:pathLst>
                <a:path w="136" h="190">
                  <a:moveTo>
                    <a:pt x="54" y="167"/>
                  </a:moveTo>
                  <a:cubicBezTo>
                    <a:pt x="46" y="167"/>
                    <a:pt x="46" y="167"/>
                    <a:pt x="46" y="167"/>
                  </a:cubicBezTo>
                  <a:cubicBezTo>
                    <a:pt x="46" y="80"/>
                    <a:pt x="46" y="80"/>
                    <a:pt x="46" y="80"/>
                  </a:cubicBezTo>
                  <a:cubicBezTo>
                    <a:pt x="49" y="79"/>
                    <a:pt x="52" y="79"/>
                    <a:pt x="57" y="79"/>
                  </a:cubicBezTo>
                  <a:cubicBezTo>
                    <a:pt x="74" y="79"/>
                    <a:pt x="88" y="95"/>
                    <a:pt x="88" y="117"/>
                  </a:cubicBezTo>
                  <a:cubicBezTo>
                    <a:pt x="88" y="150"/>
                    <a:pt x="76" y="167"/>
                    <a:pt x="54" y="167"/>
                  </a:cubicBezTo>
                  <a:close/>
                  <a:moveTo>
                    <a:pt x="82" y="52"/>
                  </a:moveTo>
                  <a:cubicBezTo>
                    <a:pt x="66" y="52"/>
                    <a:pt x="53" y="58"/>
                    <a:pt x="46" y="65"/>
                  </a:cubicBezTo>
                  <a:cubicBezTo>
                    <a:pt x="46" y="28"/>
                    <a:pt x="46" y="28"/>
                    <a:pt x="46" y="28"/>
                  </a:cubicBezTo>
                  <a:cubicBezTo>
                    <a:pt x="46" y="11"/>
                    <a:pt x="34" y="0"/>
                    <a:pt x="17" y="0"/>
                  </a:cubicBezTo>
                  <a:cubicBezTo>
                    <a:pt x="0" y="0"/>
                    <a:pt x="0" y="0"/>
                    <a:pt x="0" y="0"/>
                  </a:cubicBezTo>
                  <a:cubicBezTo>
                    <a:pt x="0" y="190"/>
                    <a:pt x="0" y="190"/>
                    <a:pt x="0" y="190"/>
                  </a:cubicBezTo>
                  <a:cubicBezTo>
                    <a:pt x="55" y="190"/>
                    <a:pt x="55" y="190"/>
                    <a:pt x="55" y="190"/>
                  </a:cubicBezTo>
                  <a:cubicBezTo>
                    <a:pt x="107" y="190"/>
                    <a:pt x="136" y="163"/>
                    <a:pt x="136" y="112"/>
                  </a:cubicBezTo>
                  <a:cubicBezTo>
                    <a:pt x="136" y="78"/>
                    <a:pt x="113" y="52"/>
                    <a:pt x="82" y="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33"/>
            <p:cNvSpPr>
              <a:spLocks/>
            </p:cNvSpPr>
            <p:nvPr/>
          </p:nvSpPr>
          <p:spPr bwMode="gray">
            <a:xfrm>
              <a:off x="6223001" y="-1666875"/>
              <a:ext cx="176213" cy="712788"/>
            </a:xfrm>
            <a:custGeom>
              <a:avLst/>
              <a:gdLst/>
              <a:ahLst/>
              <a:cxnLst>
                <a:cxn ang="0">
                  <a:pos x="0" y="190"/>
                </a:cxn>
                <a:cxn ang="0">
                  <a:pos x="47" y="190"/>
                </a:cxn>
                <a:cxn ang="0">
                  <a:pos x="47" y="28"/>
                </a:cxn>
                <a:cxn ang="0">
                  <a:pos x="18" y="0"/>
                </a:cxn>
                <a:cxn ang="0">
                  <a:pos x="0" y="0"/>
                </a:cxn>
                <a:cxn ang="0">
                  <a:pos x="0" y="190"/>
                </a:cxn>
              </a:cxnLst>
              <a:rect l="0" t="0" r="r" b="b"/>
              <a:pathLst>
                <a:path w="47" h="190">
                  <a:moveTo>
                    <a:pt x="0" y="190"/>
                  </a:moveTo>
                  <a:cubicBezTo>
                    <a:pt x="47" y="190"/>
                    <a:pt x="47" y="190"/>
                    <a:pt x="47" y="190"/>
                  </a:cubicBezTo>
                  <a:cubicBezTo>
                    <a:pt x="47" y="28"/>
                    <a:pt x="47" y="28"/>
                    <a:pt x="47" y="28"/>
                  </a:cubicBezTo>
                  <a:cubicBezTo>
                    <a:pt x="47" y="11"/>
                    <a:pt x="35" y="0"/>
                    <a:pt x="18"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aphicFrame>
        <p:nvGraphicFramePr>
          <p:cNvPr id="24" name="Object 2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24" name="Object 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1" name="Group 20"/>
          <p:cNvGrpSpPr/>
          <p:nvPr/>
        </p:nvGrpSpPr>
        <p:grpSpPr bwMode="gray">
          <a:xfrm>
            <a:off x="9286875" y="182684"/>
            <a:ext cx="1581150" cy="3229876"/>
            <a:chOff x="9286875" y="182684"/>
            <a:chExt cx="1581150" cy="3229876"/>
          </a:xfrm>
        </p:grpSpPr>
        <p:sp>
          <p:nvSpPr>
            <p:cNvPr id="22" name="Rectangle 21"/>
            <p:cNvSpPr/>
            <p:nvPr/>
          </p:nvSpPr>
          <p:spPr bwMode="gray">
            <a:xfrm>
              <a:off x="9288779" y="182684"/>
              <a:ext cx="1579245"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dirty="0">
                  <a:solidFill>
                    <a:schemeClr val="tx1"/>
                  </a:solidFill>
                </a:rPr>
                <a:t>Crop picture</a:t>
              </a:r>
            </a:p>
            <a:p>
              <a:pPr algn="l"/>
              <a:r>
                <a:rPr lang="en-US" sz="900" b="0" dirty="0">
                  <a:solidFill>
                    <a:schemeClr val="tx1"/>
                  </a:solidFill>
                </a:rPr>
                <a:t>Select picture &gt; click</a:t>
              </a:r>
              <a:r>
                <a:rPr lang="en-US" sz="900" b="0" baseline="0" dirty="0">
                  <a:solidFill>
                    <a:schemeClr val="tx1"/>
                  </a:solidFill>
                </a:rPr>
                <a:t> on tab “Picture Tools &gt; Format”</a:t>
              </a:r>
              <a:endParaRPr lang="en-US" sz="900" b="0" dirty="0">
                <a:solidFill>
                  <a:schemeClr val="tx1"/>
                </a:solidFill>
              </a:endParaRPr>
            </a:p>
          </p:txBody>
        </p:sp>
        <p:sp>
          <p:nvSpPr>
            <p:cNvPr id="27" name="Rectangle 26"/>
            <p:cNvSpPr/>
            <p:nvPr/>
          </p:nvSpPr>
          <p:spPr bwMode="gray">
            <a:xfrm>
              <a:off x="9288780" y="1261435"/>
              <a:ext cx="1579244" cy="1662924"/>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dirty="0">
                  <a:solidFill>
                    <a:schemeClr val="tx1"/>
                  </a:solidFill>
                </a:rPr>
                <a:t>Click</a:t>
              </a:r>
              <a:r>
                <a:rPr lang="en-US" sz="900" b="0" baseline="0" dirty="0">
                  <a:solidFill>
                    <a:schemeClr val="tx1"/>
                  </a:solidFill>
                </a:rPr>
                <a:t> on the icon </a:t>
              </a:r>
              <a:br>
                <a:rPr lang="en-US" sz="900" b="0" baseline="0" dirty="0">
                  <a:solidFill>
                    <a:schemeClr val="tx1"/>
                  </a:solidFill>
                </a:rPr>
              </a:br>
              <a:r>
                <a:rPr lang="en-US" sz="900" b="0" baseline="0" dirty="0">
                  <a:solidFill>
                    <a:schemeClr val="tx1"/>
                  </a:solidFill>
                </a:rPr>
                <a:t>above “Crop”</a:t>
              </a:r>
            </a:p>
            <a:p>
              <a:pPr algn="l"/>
              <a:endParaRPr lang="en-US" sz="900" b="0" baseline="0" dirty="0">
                <a:solidFill>
                  <a:schemeClr val="tx1"/>
                </a:solidFill>
              </a:endParaRPr>
            </a:p>
            <a:p>
              <a:pPr algn="l"/>
              <a:r>
                <a:rPr lang="en-US" sz="900" b="0" baseline="0" dirty="0">
                  <a:solidFill>
                    <a:schemeClr val="tx1"/>
                  </a:solidFill>
                </a:rPr>
                <a:t>You will see crop and scale markers on the corners</a:t>
              </a:r>
              <a:endParaRPr lang="en-US" sz="900" b="0" dirty="0">
                <a:solidFill>
                  <a:schemeClr val="tx1"/>
                </a:solidFill>
              </a:endParaRPr>
            </a:p>
          </p:txBody>
        </p:sp>
        <p:pic>
          <p:nvPicPr>
            <p:cNvPr id="28" name="Picture 27"/>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30" name="Picture 29"/>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31" name="Picture 30"/>
            <p:cNvPicPr>
              <a:picLocks noChangeAspect="1"/>
            </p:cNvPicPr>
            <p:nvPr/>
          </p:nvPicPr>
          <p:blipFill rotWithShape="1">
            <a:blip r:embed="rId7">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33" name="Picture 32"/>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35" name="Picture 34"/>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36" name="Rectangle 35"/>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37" name="Rectangle 36"/>
            <p:cNvSpPr/>
            <p:nvPr/>
          </p:nvSpPr>
          <p:spPr bwMode="gray">
            <a:xfrm>
              <a:off x="9288780" y="2924359"/>
              <a:ext cx="1579244"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dirty="0">
                  <a:solidFill>
                    <a:schemeClr val="tx1"/>
                  </a:solidFill>
                </a:rPr>
                <a:t>Use the “circular scale icon” to scale your picture within the cropped region.</a:t>
              </a:r>
            </a:p>
          </p:txBody>
        </p:sp>
        <p:cxnSp>
          <p:nvCxnSpPr>
            <p:cNvPr id="38" name="Straight Arrow Connector 37"/>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28" idx="0"/>
              <a:endCxn id="28" idx="2"/>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28" idx="3"/>
              <a:endCxn id="28" idx="1"/>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2" name="Oval 41"/>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sp>
        <p:nvSpPr>
          <p:cNvPr id="45" name="Picture Placeholder 44"/>
          <p:cNvSpPr>
            <a:spLocks noGrp="1"/>
          </p:cNvSpPr>
          <p:nvPr>
            <p:ph type="pic" sz="quarter" idx="17"/>
          </p:nvPr>
        </p:nvSpPr>
        <p:spPr bwMode="gray">
          <a:xfrm>
            <a:off x="1" y="-900"/>
            <a:ext cx="9143999" cy="5144400"/>
          </a:xfrm>
          <a:custGeom>
            <a:avLst/>
            <a:gdLst>
              <a:gd name="connsiteX0" fmla="*/ 8398022 w 9143999"/>
              <a:gd name="connsiteY0" fmla="*/ 345388 h 5144400"/>
              <a:gd name="connsiteX1" fmla="*/ 8441303 w 9143999"/>
              <a:gd name="connsiteY1" fmla="*/ 397979 h 5144400"/>
              <a:gd name="connsiteX2" fmla="*/ 8391839 w 9143999"/>
              <a:gd name="connsiteY2" fmla="*/ 466038 h 5144400"/>
              <a:gd name="connsiteX3" fmla="*/ 8382565 w 9143999"/>
              <a:gd name="connsiteY3" fmla="*/ 466038 h 5144400"/>
              <a:gd name="connsiteX4" fmla="*/ 8382565 w 9143999"/>
              <a:gd name="connsiteY4" fmla="*/ 348482 h 5144400"/>
              <a:gd name="connsiteX5" fmla="*/ 8398022 w 9143999"/>
              <a:gd name="connsiteY5" fmla="*/ 345388 h 5144400"/>
              <a:gd name="connsiteX6" fmla="*/ 8194405 w 9143999"/>
              <a:gd name="connsiteY6" fmla="*/ 339038 h 5144400"/>
              <a:gd name="connsiteX7" fmla="*/ 8222228 w 9143999"/>
              <a:gd name="connsiteY7" fmla="*/ 404046 h 5144400"/>
              <a:gd name="connsiteX8" fmla="*/ 8194405 w 9143999"/>
              <a:gd name="connsiteY8" fmla="*/ 462863 h 5144400"/>
              <a:gd name="connsiteX9" fmla="*/ 8163490 w 9143999"/>
              <a:gd name="connsiteY9" fmla="*/ 400951 h 5144400"/>
              <a:gd name="connsiteX10" fmla="*/ 8194405 w 9143999"/>
              <a:gd name="connsiteY10" fmla="*/ 339038 h 5144400"/>
              <a:gd name="connsiteX11" fmla="*/ 7739627 w 9143999"/>
              <a:gd name="connsiteY11" fmla="*/ 339038 h 5144400"/>
              <a:gd name="connsiteX12" fmla="*/ 7768202 w 9143999"/>
              <a:gd name="connsiteY12" fmla="*/ 404046 h 5144400"/>
              <a:gd name="connsiteX13" fmla="*/ 7739627 w 9143999"/>
              <a:gd name="connsiteY13" fmla="*/ 462863 h 5144400"/>
              <a:gd name="connsiteX14" fmla="*/ 7711052 w 9143999"/>
              <a:gd name="connsiteY14" fmla="*/ 400951 h 5144400"/>
              <a:gd name="connsiteX15" fmla="*/ 7739627 w 9143999"/>
              <a:gd name="connsiteY15" fmla="*/ 339038 h 5144400"/>
              <a:gd name="connsiteX16" fmla="*/ 8619102 w 9143999"/>
              <a:gd name="connsiteY16" fmla="*/ 335863 h 5144400"/>
              <a:gd name="connsiteX17" fmla="*/ 8650852 w 9143999"/>
              <a:gd name="connsiteY17" fmla="*/ 378725 h 5144400"/>
              <a:gd name="connsiteX18" fmla="*/ 8590527 w 9143999"/>
              <a:gd name="connsiteY18" fmla="*/ 378725 h 5144400"/>
              <a:gd name="connsiteX19" fmla="*/ 8619102 w 9143999"/>
              <a:gd name="connsiteY19" fmla="*/ 335863 h 5144400"/>
              <a:gd name="connsiteX20" fmla="*/ 7121217 w 9143999"/>
              <a:gd name="connsiteY20" fmla="*/ 308875 h 5144400"/>
              <a:gd name="connsiteX21" fmla="*/ 7149078 w 9143999"/>
              <a:gd name="connsiteY21" fmla="*/ 410475 h 5144400"/>
              <a:gd name="connsiteX22" fmla="*/ 7087165 w 9143999"/>
              <a:gd name="connsiteY22" fmla="*/ 410475 h 5144400"/>
              <a:gd name="connsiteX23" fmla="*/ 7121217 w 9143999"/>
              <a:gd name="connsiteY23" fmla="*/ 308875 h 5144400"/>
              <a:gd name="connsiteX24" fmla="*/ 7471280 w 9143999"/>
              <a:gd name="connsiteY24" fmla="*/ 305701 h 5144400"/>
              <a:gd name="connsiteX25" fmla="*/ 7471280 w 9143999"/>
              <a:gd name="connsiteY25" fmla="*/ 336410 h 5144400"/>
              <a:gd name="connsiteX26" fmla="*/ 7539787 w 9143999"/>
              <a:gd name="connsiteY26" fmla="*/ 336410 h 5144400"/>
              <a:gd name="connsiteX27" fmla="*/ 7474394 w 9143999"/>
              <a:gd name="connsiteY27" fmla="*/ 465388 h 5144400"/>
              <a:gd name="connsiteX28" fmla="*/ 7471280 w 9143999"/>
              <a:gd name="connsiteY28" fmla="*/ 493026 h 5144400"/>
              <a:gd name="connsiteX29" fmla="*/ 7608294 w 9143999"/>
              <a:gd name="connsiteY29" fmla="*/ 493026 h 5144400"/>
              <a:gd name="connsiteX30" fmla="*/ 7630091 w 9143999"/>
              <a:gd name="connsiteY30" fmla="*/ 471529 h 5144400"/>
              <a:gd name="connsiteX31" fmla="*/ 7630091 w 9143999"/>
              <a:gd name="connsiteY31" fmla="*/ 459246 h 5144400"/>
              <a:gd name="connsiteX32" fmla="*/ 7592724 w 9143999"/>
              <a:gd name="connsiteY32" fmla="*/ 462317 h 5144400"/>
              <a:gd name="connsiteX33" fmla="*/ 7549129 w 9143999"/>
              <a:gd name="connsiteY33" fmla="*/ 462317 h 5144400"/>
              <a:gd name="connsiteX34" fmla="*/ 7626977 w 9143999"/>
              <a:gd name="connsiteY34" fmla="*/ 305701 h 5144400"/>
              <a:gd name="connsiteX35" fmla="*/ 7471280 w 9143999"/>
              <a:gd name="connsiteY35" fmla="*/ 305701 h 5144400"/>
              <a:gd name="connsiteX36" fmla="*/ 8622169 w 9143999"/>
              <a:gd name="connsiteY36" fmla="*/ 305700 h 5144400"/>
              <a:gd name="connsiteX37" fmla="*/ 8525441 w 9143999"/>
              <a:gd name="connsiteY37" fmla="*/ 397827 h 5144400"/>
              <a:gd name="connsiteX38" fmla="*/ 8619049 w 9143999"/>
              <a:gd name="connsiteY38" fmla="*/ 493025 h 5144400"/>
              <a:gd name="connsiteX39" fmla="*/ 8697055 w 9143999"/>
              <a:gd name="connsiteY39" fmla="*/ 434678 h 5144400"/>
              <a:gd name="connsiteX40" fmla="*/ 8644011 w 9143999"/>
              <a:gd name="connsiteY40" fmla="*/ 450033 h 5144400"/>
              <a:gd name="connsiteX41" fmla="*/ 8590966 w 9143999"/>
              <a:gd name="connsiteY41" fmla="*/ 403969 h 5144400"/>
              <a:gd name="connsiteX42" fmla="*/ 8706416 w 9143999"/>
              <a:gd name="connsiteY42" fmla="*/ 403969 h 5144400"/>
              <a:gd name="connsiteX43" fmla="*/ 8706416 w 9143999"/>
              <a:gd name="connsiteY43" fmla="*/ 382473 h 5144400"/>
              <a:gd name="connsiteX44" fmla="*/ 8622169 w 9143999"/>
              <a:gd name="connsiteY44" fmla="*/ 305700 h 5144400"/>
              <a:gd name="connsiteX45" fmla="*/ 8195215 w 9143999"/>
              <a:gd name="connsiteY45" fmla="*/ 305700 h 5144400"/>
              <a:gd name="connsiteX46" fmla="*/ 8098403 w 9143999"/>
              <a:gd name="connsiteY46" fmla="*/ 403969 h 5144400"/>
              <a:gd name="connsiteX47" fmla="*/ 8192092 w 9143999"/>
              <a:gd name="connsiteY47" fmla="*/ 493025 h 5144400"/>
              <a:gd name="connsiteX48" fmla="*/ 8288903 w 9143999"/>
              <a:gd name="connsiteY48" fmla="*/ 394756 h 5144400"/>
              <a:gd name="connsiteX49" fmla="*/ 8195215 w 9143999"/>
              <a:gd name="connsiteY49" fmla="*/ 305700 h 5144400"/>
              <a:gd name="connsiteX50" fmla="*/ 7739629 w 9143999"/>
              <a:gd name="connsiteY50" fmla="*/ 305700 h 5144400"/>
              <a:gd name="connsiteX51" fmla="*/ 7639616 w 9143999"/>
              <a:gd name="connsiteY51" fmla="*/ 403969 h 5144400"/>
              <a:gd name="connsiteX52" fmla="*/ 7739629 w 9143999"/>
              <a:gd name="connsiteY52" fmla="*/ 493025 h 5144400"/>
              <a:gd name="connsiteX53" fmla="*/ 7839641 w 9143999"/>
              <a:gd name="connsiteY53" fmla="*/ 394757 h 5144400"/>
              <a:gd name="connsiteX54" fmla="*/ 7739629 w 9143999"/>
              <a:gd name="connsiteY54" fmla="*/ 305700 h 5144400"/>
              <a:gd name="connsiteX55" fmla="*/ 7102867 w 9143999"/>
              <a:gd name="connsiteY55" fmla="*/ 256489 h 5144400"/>
              <a:gd name="connsiteX56" fmla="*/ 7018903 w 9143999"/>
              <a:gd name="connsiteY56" fmla="*/ 493026 h 5144400"/>
              <a:gd name="connsiteX57" fmla="*/ 7056220 w 9143999"/>
              <a:gd name="connsiteY57" fmla="*/ 493026 h 5144400"/>
              <a:gd name="connsiteX58" fmla="*/ 7077989 w 9143999"/>
              <a:gd name="connsiteY58" fmla="*/ 434659 h 5144400"/>
              <a:gd name="connsiteX59" fmla="*/ 7158843 w 9143999"/>
              <a:gd name="connsiteY59" fmla="*/ 434659 h 5144400"/>
              <a:gd name="connsiteX60" fmla="*/ 7171282 w 9143999"/>
              <a:gd name="connsiteY60" fmla="*/ 471522 h 5144400"/>
              <a:gd name="connsiteX61" fmla="*/ 7196160 w 9143999"/>
              <a:gd name="connsiteY61" fmla="*/ 493026 h 5144400"/>
              <a:gd name="connsiteX62" fmla="*/ 7245916 w 9143999"/>
              <a:gd name="connsiteY62" fmla="*/ 493026 h 5144400"/>
              <a:gd name="connsiteX63" fmla="*/ 7239697 w 9143999"/>
              <a:gd name="connsiteY63" fmla="*/ 477666 h 5144400"/>
              <a:gd name="connsiteX64" fmla="*/ 7180611 w 9143999"/>
              <a:gd name="connsiteY64" fmla="*/ 290280 h 5144400"/>
              <a:gd name="connsiteX65" fmla="*/ 7133965 w 9143999"/>
              <a:gd name="connsiteY65" fmla="*/ 256489 h 5144400"/>
              <a:gd name="connsiteX66" fmla="*/ 7102867 w 9143999"/>
              <a:gd name="connsiteY66" fmla="*/ 256489 h 5144400"/>
              <a:gd name="connsiteX67" fmla="*/ 7866628 w 9143999"/>
              <a:gd name="connsiteY67" fmla="*/ 256488 h 5144400"/>
              <a:gd name="connsiteX68" fmla="*/ 7866628 w 9143999"/>
              <a:gd name="connsiteY68" fmla="*/ 493025 h 5144400"/>
              <a:gd name="connsiteX69" fmla="*/ 7907268 w 9143999"/>
              <a:gd name="connsiteY69" fmla="*/ 493025 h 5144400"/>
              <a:gd name="connsiteX70" fmla="*/ 7907268 w 9143999"/>
              <a:gd name="connsiteY70" fmla="*/ 345574 h 5144400"/>
              <a:gd name="connsiteX71" fmla="*/ 8004179 w 9143999"/>
              <a:gd name="connsiteY71" fmla="*/ 462306 h 5144400"/>
              <a:gd name="connsiteX72" fmla="*/ 8041693 w 9143999"/>
              <a:gd name="connsiteY72" fmla="*/ 493025 h 5144400"/>
              <a:gd name="connsiteX73" fmla="*/ 8069828 w 9143999"/>
              <a:gd name="connsiteY73" fmla="*/ 493025 h 5144400"/>
              <a:gd name="connsiteX74" fmla="*/ 8069828 w 9143999"/>
              <a:gd name="connsiteY74" fmla="*/ 277992 h 5144400"/>
              <a:gd name="connsiteX75" fmla="*/ 8047945 w 9143999"/>
              <a:gd name="connsiteY75" fmla="*/ 256488 h 5144400"/>
              <a:gd name="connsiteX76" fmla="*/ 8029188 w 9143999"/>
              <a:gd name="connsiteY76" fmla="*/ 256488 h 5144400"/>
              <a:gd name="connsiteX77" fmla="*/ 8029188 w 9143999"/>
              <a:gd name="connsiteY77" fmla="*/ 400868 h 5144400"/>
              <a:gd name="connsiteX78" fmla="*/ 7938530 w 9143999"/>
              <a:gd name="connsiteY78" fmla="*/ 284136 h 5144400"/>
              <a:gd name="connsiteX79" fmla="*/ 7894764 w 9143999"/>
              <a:gd name="connsiteY79" fmla="*/ 256488 h 5144400"/>
              <a:gd name="connsiteX80" fmla="*/ 7866628 w 9143999"/>
              <a:gd name="connsiteY80" fmla="*/ 256488 h 5144400"/>
              <a:gd name="connsiteX81" fmla="*/ 8738166 w 9143999"/>
              <a:gd name="connsiteY81" fmla="*/ 237438 h 5144400"/>
              <a:gd name="connsiteX82" fmla="*/ 8738166 w 9143999"/>
              <a:gd name="connsiteY82" fmla="*/ 493025 h 5144400"/>
              <a:gd name="connsiteX83" fmla="*/ 8793729 w 9143999"/>
              <a:gd name="connsiteY83" fmla="*/ 493025 h 5144400"/>
              <a:gd name="connsiteX84" fmla="*/ 8793729 w 9143999"/>
              <a:gd name="connsiteY84" fmla="*/ 274390 h 5144400"/>
              <a:gd name="connsiteX85" fmla="*/ 8759774 w 9143999"/>
              <a:gd name="connsiteY85" fmla="*/ 237438 h 5144400"/>
              <a:gd name="connsiteX86" fmla="*/ 8738166 w 9143999"/>
              <a:gd name="connsiteY86" fmla="*/ 237438 h 5144400"/>
              <a:gd name="connsiteX87" fmla="*/ 8315891 w 9143999"/>
              <a:gd name="connsiteY87" fmla="*/ 237438 h 5144400"/>
              <a:gd name="connsiteX88" fmla="*/ 8315891 w 9143999"/>
              <a:gd name="connsiteY88" fmla="*/ 493025 h 5144400"/>
              <a:gd name="connsiteX89" fmla="*/ 8393965 w 9143999"/>
              <a:gd name="connsiteY89" fmla="*/ 493025 h 5144400"/>
              <a:gd name="connsiteX90" fmla="*/ 8506391 w 9143999"/>
              <a:gd name="connsiteY90" fmla="*/ 388327 h 5144400"/>
              <a:gd name="connsiteX91" fmla="*/ 8431440 w 9143999"/>
              <a:gd name="connsiteY91" fmla="*/ 308263 h 5144400"/>
              <a:gd name="connsiteX92" fmla="*/ 8381473 w 9143999"/>
              <a:gd name="connsiteY92" fmla="*/ 326740 h 5144400"/>
              <a:gd name="connsiteX93" fmla="*/ 8381473 w 9143999"/>
              <a:gd name="connsiteY93" fmla="*/ 274391 h 5144400"/>
              <a:gd name="connsiteX94" fmla="*/ 8340875 w 9143999"/>
              <a:gd name="connsiteY94" fmla="*/ 237438 h 5144400"/>
              <a:gd name="connsiteX95" fmla="*/ 8315891 w 9143999"/>
              <a:gd name="connsiteY95" fmla="*/ 237438 h 5144400"/>
              <a:gd name="connsiteX96" fmla="*/ 7268141 w 9143999"/>
              <a:gd name="connsiteY96" fmla="*/ 237438 h 5144400"/>
              <a:gd name="connsiteX97" fmla="*/ 7268141 w 9143999"/>
              <a:gd name="connsiteY97" fmla="*/ 493025 h 5144400"/>
              <a:gd name="connsiteX98" fmla="*/ 7333229 w 9143999"/>
              <a:gd name="connsiteY98" fmla="*/ 493025 h 5144400"/>
              <a:gd name="connsiteX99" fmla="*/ 7333229 w 9143999"/>
              <a:gd name="connsiteY99" fmla="*/ 420859 h 5144400"/>
              <a:gd name="connsiteX100" fmla="*/ 7333229 w 9143999"/>
              <a:gd name="connsiteY100" fmla="*/ 394758 h 5144400"/>
              <a:gd name="connsiteX101" fmla="*/ 7354980 w 9143999"/>
              <a:gd name="connsiteY101" fmla="*/ 433815 h 5144400"/>
              <a:gd name="connsiteX102" fmla="*/ 7370852 w 9143999"/>
              <a:gd name="connsiteY102" fmla="*/ 462317 h 5144400"/>
              <a:gd name="connsiteX103" fmla="*/ 7405341 w 9143999"/>
              <a:gd name="connsiteY103" fmla="*/ 493026 h 5144400"/>
              <a:gd name="connsiteX104" fmla="*/ 7458641 w 9143999"/>
              <a:gd name="connsiteY104" fmla="*/ 493026 h 5144400"/>
              <a:gd name="connsiteX105" fmla="*/ 7446100 w 9143999"/>
              <a:gd name="connsiteY105" fmla="*/ 477671 h 5144400"/>
              <a:gd name="connsiteX106" fmla="*/ 7395935 w 9143999"/>
              <a:gd name="connsiteY106" fmla="*/ 379402 h 5144400"/>
              <a:gd name="connsiteX107" fmla="*/ 7455506 w 9143999"/>
              <a:gd name="connsiteY107" fmla="*/ 305701 h 5144400"/>
              <a:gd name="connsiteX108" fmla="*/ 7402205 w 9143999"/>
              <a:gd name="connsiteY108" fmla="*/ 305701 h 5144400"/>
              <a:gd name="connsiteX109" fmla="*/ 7334306 w 9143999"/>
              <a:gd name="connsiteY109" fmla="*/ 393365 h 5144400"/>
              <a:gd name="connsiteX110" fmla="*/ 7333229 w 9143999"/>
              <a:gd name="connsiteY110" fmla="*/ 394755 h 5144400"/>
              <a:gd name="connsiteX111" fmla="*/ 7333229 w 9143999"/>
              <a:gd name="connsiteY111" fmla="*/ 366627 h 5144400"/>
              <a:gd name="connsiteX112" fmla="*/ 7333229 w 9143999"/>
              <a:gd name="connsiteY112" fmla="*/ 274391 h 5144400"/>
              <a:gd name="connsiteX113" fmla="*/ 7289837 w 9143999"/>
              <a:gd name="connsiteY113" fmla="*/ 237438 h 5144400"/>
              <a:gd name="connsiteX114" fmla="*/ 7268141 w 9143999"/>
              <a:gd name="connsiteY114" fmla="*/ 237438 h 5144400"/>
              <a:gd name="connsiteX115" fmla="*/ 8932543 w 9143999"/>
              <a:gd name="connsiteY115" fmla="*/ 0 h 5144400"/>
              <a:gd name="connsiteX116" fmla="*/ 9143999 w 9143999"/>
              <a:gd name="connsiteY116" fmla="*/ 0 h 5144400"/>
              <a:gd name="connsiteX117" fmla="*/ 9143999 w 9143999"/>
              <a:gd name="connsiteY117" fmla="*/ 5144400 h 5144400"/>
              <a:gd name="connsiteX118" fmla="*/ 9027314 w 9143999"/>
              <a:gd name="connsiteY118" fmla="*/ 5144400 h 5144400"/>
              <a:gd name="connsiteX119" fmla="*/ 9009627 w 9143999"/>
              <a:gd name="connsiteY119" fmla="*/ 5144400 h 5144400"/>
              <a:gd name="connsiteX120" fmla="*/ 8932543 w 9143999"/>
              <a:gd name="connsiteY120" fmla="*/ 5144400 h 5144400"/>
              <a:gd name="connsiteX121" fmla="*/ 8853155 w 9143999"/>
              <a:gd name="connsiteY121" fmla="*/ 5144400 h 5144400"/>
              <a:gd name="connsiteX122" fmla="*/ 0 w 9143999"/>
              <a:gd name="connsiteY122" fmla="*/ 5144400 h 5144400"/>
              <a:gd name="connsiteX123" fmla="*/ 0 w 9143999"/>
              <a:gd name="connsiteY123" fmla="*/ 902 h 5144400"/>
              <a:gd name="connsiteX124" fmla="*/ 8853155 w 9143999"/>
              <a:gd name="connsiteY124" fmla="*/ 902 h 5144400"/>
              <a:gd name="connsiteX125" fmla="*/ 8853155 w 9143999"/>
              <a:gd name="connsiteY125" fmla="*/ 900 h 5144400"/>
              <a:gd name="connsiteX126" fmla="*/ 8932543 w 9143999"/>
              <a:gd name="connsiteY126" fmla="*/ 90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143999" h="5144400">
                <a:moveTo>
                  <a:pt x="8398022" y="345388"/>
                </a:moveTo>
                <a:cubicBezTo>
                  <a:pt x="8419663" y="345388"/>
                  <a:pt x="8441303" y="367043"/>
                  <a:pt x="8441303" y="397979"/>
                </a:cubicBezTo>
                <a:cubicBezTo>
                  <a:pt x="8441303" y="441289"/>
                  <a:pt x="8422754" y="466038"/>
                  <a:pt x="8391839" y="466038"/>
                </a:cubicBezTo>
                <a:cubicBezTo>
                  <a:pt x="8382565" y="466038"/>
                  <a:pt x="8382565" y="466038"/>
                  <a:pt x="8382565" y="466038"/>
                </a:cubicBezTo>
                <a:cubicBezTo>
                  <a:pt x="8382565" y="348482"/>
                  <a:pt x="8382565" y="348482"/>
                  <a:pt x="8382565" y="348482"/>
                </a:cubicBezTo>
                <a:cubicBezTo>
                  <a:pt x="8385656" y="345388"/>
                  <a:pt x="8388748" y="345388"/>
                  <a:pt x="8398022" y="345388"/>
                </a:cubicBezTo>
                <a:close/>
                <a:moveTo>
                  <a:pt x="8194405" y="339038"/>
                </a:moveTo>
                <a:cubicBezTo>
                  <a:pt x="8212954" y="339038"/>
                  <a:pt x="8222228" y="366899"/>
                  <a:pt x="8222228" y="404046"/>
                </a:cubicBezTo>
                <a:cubicBezTo>
                  <a:pt x="8222228" y="441194"/>
                  <a:pt x="8212954" y="462863"/>
                  <a:pt x="8194405" y="462863"/>
                </a:cubicBezTo>
                <a:cubicBezTo>
                  <a:pt x="8172765" y="462863"/>
                  <a:pt x="8163490" y="438098"/>
                  <a:pt x="8163490" y="400951"/>
                </a:cubicBezTo>
                <a:cubicBezTo>
                  <a:pt x="8163490" y="363803"/>
                  <a:pt x="8172765" y="339038"/>
                  <a:pt x="8194405" y="339038"/>
                </a:cubicBezTo>
                <a:close/>
                <a:moveTo>
                  <a:pt x="7739627" y="339038"/>
                </a:moveTo>
                <a:cubicBezTo>
                  <a:pt x="7761852" y="339038"/>
                  <a:pt x="7768202" y="366899"/>
                  <a:pt x="7768202" y="404046"/>
                </a:cubicBezTo>
                <a:cubicBezTo>
                  <a:pt x="7768202" y="441194"/>
                  <a:pt x="7761852" y="462863"/>
                  <a:pt x="7739627" y="462863"/>
                </a:cubicBezTo>
                <a:cubicBezTo>
                  <a:pt x="7717402" y="462863"/>
                  <a:pt x="7711052" y="438098"/>
                  <a:pt x="7711052" y="400951"/>
                </a:cubicBezTo>
                <a:cubicBezTo>
                  <a:pt x="7711052" y="363803"/>
                  <a:pt x="7717402" y="339038"/>
                  <a:pt x="7739627" y="339038"/>
                </a:cubicBezTo>
                <a:close/>
                <a:moveTo>
                  <a:pt x="8619102" y="335863"/>
                </a:moveTo>
                <a:cubicBezTo>
                  <a:pt x="8644502" y="335863"/>
                  <a:pt x="8650852" y="378725"/>
                  <a:pt x="8650852" y="378725"/>
                </a:cubicBezTo>
                <a:cubicBezTo>
                  <a:pt x="8590527" y="378725"/>
                  <a:pt x="8590527" y="378725"/>
                  <a:pt x="8590527" y="378725"/>
                </a:cubicBezTo>
                <a:cubicBezTo>
                  <a:pt x="8590527" y="354233"/>
                  <a:pt x="8600052" y="335863"/>
                  <a:pt x="8619102" y="335863"/>
                </a:cubicBezTo>
                <a:close/>
                <a:moveTo>
                  <a:pt x="7121217" y="308875"/>
                </a:moveTo>
                <a:cubicBezTo>
                  <a:pt x="7149078" y="410475"/>
                  <a:pt x="7149078" y="410475"/>
                  <a:pt x="7149078" y="410475"/>
                </a:cubicBezTo>
                <a:cubicBezTo>
                  <a:pt x="7087165" y="410475"/>
                  <a:pt x="7087165" y="410475"/>
                  <a:pt x="7087165" y="410475"/>
                </a:cubicBezTo>
                <a:cubicBezTo>
                  <a:pt x="7121217" y="308875"/>
                  <a:pt x="7121217" y="308875"/>
                  <a:pt x="7121217" y="308875"/>
                </a:cubicBezTo>
                <a:close/>
                <a:moveTo>
                  <a:pt x="7471280" y="305701"/>
                </a:moveTo>
                <a:cubicBezTo>
                  <a:pt x="7471280" y="336410"/>
                  <a:pt x="7471280" y="336410"/>
                  <a:pt x="7471280" y="336410"/>
                </a:cubicBezTo>
                <a:cubicBezTo>
                  <a:pt x="7539787" y="336410"/>
                  <a:pt x="7539787" y="336410"/>
                  <a:pt x="7539787" y="336410"/>
                </a:cubicBezTo>
                <a:cubicBezTo>
                  <a:pt x="7474394" y="465388"/>
                  <a:pt x="7474394" y="465388"/>
                  <a:pt x="7474394" y="465388"/>
                </a:cubicBezTo>
                <a:cubicBezTo>
                  <a:pt x="7468166" y="477671"/>
                  <a:pt x="7468166" y="486884"/>
                  <a:pt x="7471280" y="493026"/>
                </a:cubicBezTo>
                <a:cubicBezTo>
                  <a:pt x="7608294" y="493026"/>
                  <a:pt x="7608294" y="493026"/>
                  <a:pt x="7608294" y="493026"/>
                </a:cubicBezTo>
                <a:cubicBezTo>
                  <a:pt x="7620749" y="493026"/>
                  <a:pt x="7630091" y="483813"/>
                  <a:pt x="7630091" y="471529"/>
                </a:cubicBezTo>
                <a:cubicBezTo>
                  <a:pt x="7630091" y="459246"/>
                  <a:pt x="7630091" y="459246"/>
                  <a:pt x="7630091" y="459246"/>
                </a:cubicBezTo>
                <a:cubicBezTo>
                  <a:pt x="7623863" y="462317"/>
                  <a:pt x="7614522" y="462317"/>
                  <a:pt x="7592724" y="462317"/>
                </a:cubicBezTo>
                <a:cubicBezTo>
                  <a:pt x="7549129" y="462317"/>
                  <a:pt x="7549129" y="462317"/>
                  <a:pt x="7549129" y="462317"/>
                </a:cubicBezTo>
                <a:cubicBezTo>
                  <a:pt x="7626977" y="305701"/>
                  <a:pt x="7626977" y="305701"/>
                  <a:pt x="7626977" y="305701"/>
                </a:cubicBezTo>
                <a:cubicBezTo>
                  <a:pt x="7471280" y="305701"/>
                  <a:pt x="7471280" y="305701"/>
                  <a:pt x="7471280" y="305701"/>
                </a:cubicBezTo>
                <a:close/>
                <a:moveTo>
                  <a:pt x="8622169" y="305700"/>
                </a:moveTo>
                <a:cubicBezTo>
                  <a:pt x="8566004" y="305700"/>
                  <a:pt x="8525441" y="342551"/>
                  <a:pt x="8525441" y="397827"/>
                </a:cubicBezTo>
                <a:cubicBezTo>
                  <a:pt x="8525441" y="453103"/>
                  <a:pt x="8562884" y="493025"/>
                  <a:pt x="8619049" y="493025"/>
                </a:cubicBezTo>
                <a:cubicBezTo>
                  <a:pt x="8675213" y="493025"/>
                  <a:pt x="8697055" y="462316"/>
                  <a:pt x="8697055" y="434678"/>
                </a:cubicBezTo>
                <a:cubicBezTo>
                  <a:pt x="8684574" y="443891"/>
                  <a:pt x="8665853" y="450033"/>
                  <a:pt x="8644011" y="450033"/>
                </a:cubicBezTo>
                <a:cubicBezTo>
                  <a:pt x="8612808" y="450033"/>
                  <a:pt x="8590966" y="431607"/>
                  <a:pt x="8590966" y="403969"/>
                </a:cubicBezTo>
                <a:cubicBezTo>
                  <a:pt x="8706416" y="403969"/>
                  <a:pt x="8706416" y="403969"/>
                  <a:pt x="8706416" y="403969"/>
                </a:cubicBezTo>
                <a:cubicBezTo>
                  <a:pt x="8706416" y="394756"/>
                  <a:pt x="8706416" y="388615"/>
                  <a:pt x="8706416" y="382473"/>
                </a:cubicBezTo>
                <a:cubicBezTo>
                  <a:pt x="8706416" y="339480"/>
                  <a:pt x="8675213" y="305700"/>
                  <a:pt x="8622169" y="305700"/>
                </a:cubicBezTo>
                <a:close/>
                <a:moveTo>
                  <a:pt x="8195215" y="305700"/>
                </a:moveTo>
                <a:cubicBezTo>
                  <a:pt x="8139002" y="305700"/>
                  <a:pt x="8098403" y="342551"/>
                  <a:pt x="8098403" y="403969"/>
                </a:cubicBezTo>
                <a:cubicBezTo>
                  <a:pt x="8098403" y="456174"/>
                  <a:pt x="8139002" y="493025"/>
                  <a:pt x="8192092" y="493025"/>
                </a:cubicBezTo>
                <a:cubicBezTo>
                  <a:pt x="8245182" y="493025"/>
                  <a:pt x="8288903" y="456174"/>
                  <a:pt x="8288903" y="394756"/>
                </a:cubicBezTo>
                <a:cubicBezTo>
                  <a:pt x="8288903" y="342551"/>
                  <a:pt x="8248305" y="305700"/>
                  <a:pt x="8195215" y="305700"/>
                </a:cubicBezTo>
                <a:close/>
                <a:moveTo>
                  <a:pt x="7739629" y="305700"/>
                </a:moveTo>
                <a:cubicBezTo>
                  <a:pt x="7686497" y="305700"/>
                  <a:pt x="7639616" y="342551"/>
                  <a:pt x="7639616" y="403969"/>
                </a:cubicBezTo>
                <a:cubicBezTo>
                  <a:pt x="7639616" y="456175"/>
                  <a:pt x="7686497" y="493025"/>
                  <a:pt x="7739629" y="493025"/>
                </a:cubicBezTo>
                <a:cubicBezTo>
                  <a:pt x="7792760" y="493025"/>
                  <a:pt x="7839641" y="456175"/>
                  <a:pt x="7839641" y="394757"/>
                </a:cubicBezTo>
                <a:cubicBezTo>
                  <a:pt x="7839641" y="342551"/>
                  <a:pt x="7795886" y="305700"/>
                  <a:pt x="7739629" y="305700"/>
                </a:cubicBezTo>
                <a:close/>
                <a:moveTo>
                  <a:pt x="7102867" y="256489"/>
                </a:moveTo>
                <a:cubicBezTo>
                  <a:pt x="7018903" y="493026"/>
                  <a:pt x="7018903" y="493026"/>
                  <a:pt x="7018903" y="493026"/>
                </a:cubicBezTo>
                <a:cubicBezTo>
                  <a:pt x="7056220" y="493026"/>
                  <a:pt x="7056220" y="493026"/>
                  <a:pt x="7056220" y="493026"/>
                </a:cubicBezTo>
                <a:cubicBezTo>
                  <a:pt x="7077989" y="434659"/>
                  <a:pt x="7077989" y="434659"/>
                  <a:pt x="7077989" y="434659"/>
                </a:cubicBezTo>
                <a:cubicBezTo>
                  <a:pt x="7158843" y="434659"/>
                  <a:pt x="7158843" y="434659"/>
                  <a:pt x="7158843" y="434659"/>
                </a:cubicBezTo>
                <a:cubicBezTo>
                  <a:pt x="7171282" y="471522"/>
                  <a:pt x="7171282" y="471522"/>
                  <a:pt x="7171282" y="471522"/>
                </a:cubicBezTo>
                <a:cubicBezTo>
                  <a:pt x="7177501" y="486882"/>
                  <a:pt x="7180611" y="493026"/>
                  <a:pt x="7196160" y="493026"/>
                </a:cubicBezTo>
                <a:cubicBezTo>
                  <a:pt x="7245916" y="493026"/>
                  <a:pt x="7245916" y="493026"/>
                  <a:pt x="7245916" y="493026"/>
                </a:cubicBezTo>
                <a:cubicBezTo>
                  <a:pt x="7245916" y="489954"/>
                  <a:pt x="7242806" y="486882"/>
                  <a:pt x="7239697" y="477666"/>
                </a:cubicBezTo>
                <a:cubicBezTo>
                  <a:pt x="7180611" y="290280"/>
                  <a:pt x="7180611" y="290280"/>
                  <a:pt x="7180611" y="290280"/>
                </a:cubicBezTo>
                <a:cubicBezTo>
                  <a:pt x="7171282" y="268776"/>
                  <a:pt x="7161953" y="256489"/>
                  <a:pt x="7133965" y="256489"/>
                </a:cubicBezTo>
                <a:cubicBezTo>
                  <a:pt x="7102867" y="256489"/>
                  <a:pt x="7102867" y="256489"/>
                  <a:pt x="7102867" y="256489"/>
                </a:cubicBezTo>
                <a:close/>
                <a:moveTo>
                  <a:pt x="7866628" y="256488"/>
                </a:moveTo>
                <a:cubicBezTo>
                  <a:pt x="7866628" y="493025"/>
                  <a:pt x="7866628" y="493025"/>
                  <a:pt x="7866628" y="493025"/>
                </a:cubicBezTo>
                <a:cubicBezTo>
                  <a:pt x="7907268" y="493025"/>
                  <a:pt x="7907268" y="493025"/>
                  <a:pt x="7907268" y="493025"/>
                </a:cubicBezTo>
                <a:cubicBezTo>
                  <a:pt x="7907268" y="345574"/>
                  <a:pt x="7907268" y="345574"/>
                  <a:pt x="7907268" y="345574"/>
                </a:cubicBezTo>
                <a:cubicBezTo>
                  <a:pt x="8004179" y="462306"/>
                  <a:pt x="8004179" y="462306"/>
                  <a:pt x="8004179" y="462306"/>
                </a:cubicBezTo>
                <a:cubicBezTo>
                  <a:pt x="8016684" y="480738"/>
                  <a:pt x="8026062" y="493025"/>
                  <a:pt x="8041693" y="493025"/>
                </a:cubicBezTo>
                <a:cubicBezTo>
                  <a:pt x="8069828" y="493025"/>
                  <a:pt x="8069828" y="493025"/>
                  <a:pt x="8069828" y="493025"/>
                </a:cubicBezTo>
                <a:cubicBezTo>
                  <a:pt x="8069828" y="277992"/>
                  <a:pt x="8069828" y="277992"/>
                  <a:pt x="8069828" y="277992"/>
                </a:cubicBezTo>
                <a:cubicBezTo>
                  <a:pt x="8069828" y="265704"/>
                  <a:pt x="8060450" y="256488"/>
                  <a:pt x="8047945" y="256488"/>
                </a:cubicBezTo>
                <a:cubicBezTo>
                  <a:pt x="8029188" y="256488"/>
                  <a:pt x="8029188" y="256488"/>
                  <a:pt x="8029188" y="256488"/>
                </a:cubicBezTo>
                <a:cubicBezTo>
                  <a:pt x="8029188" y="400868"/>
                  <a:pt x="8029188" y="400868"/>
                  <a:pt x="8029188" y="400868"/>
                </a:cubicBezTo>
                <a:cubicBezTo>
                  <a:pt x="7938530" y="284136"/>
                  <a:pt x="7938530" y="284136"/>
                  <a:pt x="7938530" y="284136"/>
                </a:cubicBezTo>
                <a:cubicBezTo>
                  <a:pt x="7922899" y="268776"/>
                  <a:pt x="7916647" y="256488"/>
                  <a:pt x="7894764" y="256488"/>
                </a:cubicBezTo>
                <a:cubicBezTo>
                  <a:pt x="7866628" y="256488"/>
                  <a:pt x="7866628" y="256488"/>
                  <a:pt x="7866628" y="256488"/>
                </a:cubicBezTo>
                <a:close/>
                <a:moveTo>
                  <a:pt x="8738166" y="237438"/>
                </a:moveTo>
                <a:cubicBezTo>
                  <a:pt x="8738166" y="493025"/>
                  <a:pt x="8738166" y="493025"/>
                  <a:pt x="8738166" y="493025"/>
                </a:cubicBezTo>
                <a:cubicBezTo>
                  <a:pt x="8793729" y="493025"/>
                  <a:pt x="8793729" y="493025"/>
                  <a:pt x="8793729" y="493025"/>
                </a:cubicBezTo>
                <a:cubicBezTo>
                  <a:pt x="8793729" y="274390"/>
                  <a:pt x="8793729" y="274390"/>
                  <a:pt x="8793729" y="274390"/>
                </a:cubicBezTo>
                <a:cubicBezTo>
                  <a:pt x="8793729" y="252835"/>
                  <a:pt x="8778295" y="237438"/>
                  <a:pt x="8759774" y="237438"/>
                </a:cubicBezTo>
                <a:cubicBezTo>
                  <a:pt x="8738166" y="237438"/>
                  <a:pt x="8738166" y="237438"/>
                  <a:pt x="8738166" y="237438"/>
                </a:cubicBezTo>
                <a:close/>
                <a:moveTo>
                  <a:pt x="8315891" y="237438"/>
                </a:moveTo>
                <a:cubicBezTo>
                  <a:pt x="8315891" y="493025"/>
                  <a:pt x="8315891" y="493025"/>
                  <a:pt x="8315891" y="493025"/>
                </a:cubicBezTo>
                <a:cubicBezTo>
                  <a:pt x="8393965" y="493025"/>
                  <a:pt x="8393965" y="493025"/>
                  <a:pt x="8393965" y="493025"/>
                </a:cubicBezTo>
                <a:cubicBezTo>
                  <a:pt x="8465793" y="493025"/>
                  <a:pt x="8506391" y="456073"/>
                  <a:pt x="8506391" y="388327"/>
                </a:cubicBezTo>
                <a:cubicBezTo>
                  <a:pt x="8506391" y="342136"/>
                  <a:pt x="8475161" y="308263"/>
                  <a:pt x="8431440" y="308263"/>
                </a:cubicBezTo>
                <a:cubicBezTo>
                  <a:pt x="8409580" y="308263"/>
                  <a:pt x="8390842" y="317502"/>
                  <a:pt x="8381473" y="326740"/>
                </a:cubicBezTo>
                <a:cubicBezTo>
                  <a:pt x="8381473" y="274391"/>
                  <a:pt x="8381473" y="274391"/>
                  <a:pt x="8381473" y="274391"/>
                </a:cubicBezTo>
                <a:cubicBezTo>
                  <a:pt x="8381473" y="252835"/>
                  <a:pt x="8362735" y="237438"/>
                  <a:pt x="8340875" y="237438"/>
                </a:cubicBezTo>
                <a:cubicBezTo>
                  <a:pt x="8315891" y="237438"/>
                  <a:pt x="8315891" y="237438"/>
                  <a:pt x="8315891" y="237438"/>
                </a:cubicBezTo>
                <a:close/>
                <a:moveTo>
                  <a:pt x="7268141" y="237438"/>
                </a:moveTo>
                <a:cubicBezTo>
                  <a:pt x="7268141" y="493025"/>
                  <a:pt x="7268141" y="493025"/>
                  <a:pt x="7268141" y="493025"/>
                </a:cubicBezTo>
                <a:cubicBezTo>
                  <a:pt x="7333229" y="493025"/>
                  <a:pt x="7333229" y="493025"/>
                  <a:pt x="7333229" y="493025"/>
                </a:cubicBezTo>
                <a:cubicBezTo>
                  <a:pt x="7333229" y="465696"/>
                  <a:pt x="7333229" y="441783"/>
                  <a:pt x="7333229" y="420859"/>
                </a:cubicBezTo>
                <a:lnTo>
                  <a:pt x="7333229" y="394758"/>
                </a:lnTo>
                <a:lnTo>
                  <a:pt x="7354980" y="433815"/>
                </a:lnTo>
                <a:cubicBezTo>
                  <a:pt x="7370852" y="462317"/>
                  <a:pt x="7370852" y="462317"/>
                  <a:pt x="7370852" y="462317"/>
                </a:cubicBezTo>
                <a:cubicBezTo>
                  <a:pt x="7380258" y="483813"/>
                  <a:pt x="7383393" y="493026"/>
                  <a:pt x="7405341" y="493026"/>
                </a:cubicBezTo>
                <a:cubicBezTo>
                  <a:pt x="7458641" y="493026"/>
                  <a:pt x="7458641" y="493026"/>
                  <a:pt x="7458641" y="493026"/>
                </a:cubicBezTo>
                <a:cubicBezTo>
                  <a:pt x="7455506" y="489955"/>
                  <a:pt x="7452371" y="486884"/>
                  <a:pt x="7446100" y="477671"/>
                </a:cubicBezTo>
                <a:cubicBezTo>
                  <a:pt x="7395935" y="379402"/>
                  <a:pt x="7395935" y="379402"/>
                  <a:pt x="7395935" y="379402"/>
                </a:cubicBezTo>
                <a:cubicBezTo>
                  <a:pt x="7455506" y="305701"/>
                  <a:pt x="7455506" y="305701"/>
                  <a:pt x="7455506" y="305701"/>
                </a:cubicBezTo>
                <a:cubicBezTo>
                  <a:pt x="7402205" y="305701"/>
                  <a:pt x="7402205" y="305701"/>
                  <a:pt x="7402205" y="305701"/>
                </a:cubicBezTo>
                <a:cubicBezTo>
                  <a:pt x="7350473" y="372493"/>
                  <a:pt x="7337539" y="389191"/>
                  <a:pt x="7334306" y="393365"/>
                </a:cubicBezTo>
                <a:lnTo>
                  <a:pt x="7333229" y="394755"/>
                </a:lnTo>
                <a:lnTo>
                  <a:pt x="7333229" y="366627"/>
                </a:lnTo>
                <a:cubicBezTo>
                  <a:pt x="7333229" y="274391"/>
                  <a:pt x="7333229" y="274391"/>
                  <a:pt x="7333229" y="274391"/>
                </a:cubicBezTo>
                <a:cubicBezTo>
                  <a:pt x="7333229" y="252835"/>
                  <a:pt x="7314633" y="237438"/>
                  <a:pt x="7289837" y="237438"/>
                </a:cubicBezTo>
                <a:cubicBezTo>
                  <a:pt x="7268141" y="237438"/>
                  <a:pt x="7268141" y="237438"/>
                  <a:pt x="7268141" y="237438"/>
                </a:cubicBezTo>
                <a:close/>
                <a:moveTo>
                  <a:pt x="8932543" y="0"/>
                </a:moveTo>
                <a:lnTo>
                  <a:pt x="9143999" y="0"/>
                </a:lnTo>
                <a:lnTo>
                  <a:pt x="9143999" y="5144400"/>
                </a:lnTo>
                <a:lnTo>
                  <a:pt x="9027314" y="5144400"/>
                </a:lnTo>
                <a:lnTo>
                  <a:pt x="9009627" y="5144400"/>
                </a:lnTo>
                <a:lnTo>
                  <a:pt x="8932543" y="5144400"/>
                </a:lnTo>
                <a:lnTo>
                  <a:pt x="8853155" y="5144400"/>
                </a:lnTo>
                <a:lnTo>
                  <a:pt x="0" y="5144400"/>
                </a:lnTo>
                <a:lnTo>
                  <a:pt x="0" y="902"/>
                </a:lnTo>
                <a:lnTo>
                  <a:pt x="8853155" y="902"/>
                </a:lnTo>
                <a:lnTo>
                  <a:pt x="8853155" y="900"/>
                </a:lnTo>
                <a:lnTo>
                  <a:pt x="8932543" y="900"/>
                </a:lnTo>
                <a:close/>
              </a:path>
            </a:pathLst>
          </a:custGeom>
          <a:solidFill>
            <a:srgbClr val="B9C9D0">
              <a:alpha val="50000"/>
            </a:srgbClr>
          </a:solidFill>
        </p:spPr>
        <p:txBody>
          <a:bodyPr wrap="square" bIns="720000" anchor="ctr" anchorCtr="0">
            <a:noAutofit/>
          </a:bodyPr>
          <a:lstStyle>
            <a:lvl1pPr algn="ctr">
              <a:defRPr sz="1200"/>
            </a:lvl1pPr>
          </a:lstStyle>
          <a:p>
            <a:r>
              <a:rPr lang="en-US" noProof="0"/>
              <a:t>Click icon to add picture</a:t>
            </a:r>
            <a:endParaRPr lang="en-US" noProof="0" dirty="0"/>
          </a:p>
        </p:txBody>
      </p:sp>
    </p:spTree>
    <p:extLst>
      <p:ext uri="{BB962C8B-B14F-4D97-AF65-F5344CB8AC3E}">
        <p14:creationId xmlns:p14="http://schemas.microsoft.com/office/powerpoint/2010/main" val="4772151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ull Image with AkzoNobel logo blue">
    <p:bg>
      <p:bgPr>
        <a:solidFill>
          <a:srgbClr val="005192"/>
        </a:solidFill>
        <a:effectLst/>
      </p:bgPr>
    </p:bg>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4885C40-5374-46B3-A40F-72C613D46B8F}"/>
              </a:ext>
            </a:extLst>
          </p:cNvPr>
          <p:cNvGrpSpPr/>
          <p:nvPr userDrawn="1"/>
        </p:nvGrpSpPr>
        <p:grpSpPr>
          <a:xfrm>
            <a:off x="0" y="-900"/>
            <a:ext cx="9143999" cy="5144400"/>
            <a:chOff x="0" y="-900"/>
            <a:chExt cx="9143999" cy="5144400"/>
          </a:xfrm>
        </p:grpSpPr>
        <p:sp>
          <p:nvSpPr>
            <p:cNvPr id="24" name="Rectangle 23">
              <a:extLst>
                <a:ext uri="{FF2B5EF4-FFF2-40B4-BE49-F238E27FC236}">
                  <a16:creationId xmlns:a16="http://schemas.microsoft.com/office/drawing/2014/main" id="{B4E283DB-FC28-4D25-82E5-31FFC0148776}"/>
                </a:ext>
              </a:extLst>
            </p:cNvPr>
            <p:cNvSpPr/>
            <p:nvPr userDrawn="1"/>
          </p:nvSpPr>
          <p:spPr>
            <a:xfrm>
              <a:off x="7013813" y="-900"/>
              <a:ext cx="1782000" cy="5144400"/>
            </a:xfrm>
            <a:prstGeom prst="rect">
              <a:avLst/>
            </a:prstGeom>
            <a:gradFill flip="none" rotWithShape="1">
              <a:gsLst>
                <a:gs pos="0">
                  <a:srgbClr val="005192"/>
                </a:gs>
                <a:gs pos="100000">
                  <a:srgbClr val="008BC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26" name="Rectangle 25">
              <a:extLst>
                <a:ext uri="{FF2B5EF4-FFF2-40B4-BE49-F238E27FC236}">
                  <a16:creationId xmlns:a16="http://schemas.microsoft.com/office/drawing/2014/main" id="{F8D9984F-B3AC-4B24-AD07-6157959DC328}"/>
                </a:ext>
              </a:extLst>
            </p:cNvPr>
            <p:cNvSpPr/>
            <p:nvPr userDrawn="1"/>
          </p:nvSpPr>
          <p:spPr>
            <a:xfrm>
              <a:off x="0" y="-900"/>
              <a:ext cx="7013813" cy="5144400"/>
            </a:xfrm>
            <a:prstGeom prst="rect">
              <a:avLst/>
            </a:prstGeom>
            <a:solidFill>
              <a:srgbClr val="00519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27" name="Rectangle 26">
              <a:extLst>
                <a:ext uri="{FF2B5EF4-FFF2-40B4-BE49-F238E27FC236}">
                  <a16:creationId xmlns:a16="http://schemas.microsoft.com/office/drawing/2014/main" id="{5F871881-63A4-460E-8A2D-6EFA97CD4F71}"/>
                </a:ext>
              </a:extLst>
            </p:cNvPr>
            <p:cNvSpPr/>
            <p:nvPr userDrawn="1"/>
          </p:nvSpPr>
          <p:spPr>
            <a:xfrm>
              <a:off x="8795812" y="-900"/>
              <a:ext cx="348187" cy="5144400"/>
            </a:xfrm>
            <a:prstGeom prst="rect">
              <a:avLst/>
            </a:prstGeom>
            <a:solidFill>
              <a:srgbClr val="008B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sp>
        <p:nvSpPr>
          <p:cNvPr id="20" name="Freeform: Shape 19">
            <a:extLst>
              <a:ext uri="{FF2B5EF4-FFF2-40B4-BE49-F238E27FC236}">
                <a16:creationId xmlns:a16="http://schemas.microsoft.com/office/drawing/2014/main" id="{801E1B99-84EA-4EEE-80C0-5496FBC578FA}"/>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46" name="Picture Placeholder 45"/>
          <p:cNvSpPr>
            <a:spLocks noGrp="1"/>
          </p:cNvSpPr>
          <p:nvPr>
            <p:ph type="pic" sz="quarter" idx="17"/>
          </p:nvPr>
        </p:nvSpPr>
        <p:spPr bwMode="gray">
          <a:xfrm>
            <a:off x="1" y="-450"/>
            <a:ext cx="9143999" cy="5144400"/>
          </a:xfrm>
          <a:custGeom>
            <a:avLst/>
            <a:gdLst>
              <a:gd name="connsiteX0" fmla="*/ 8398022 w 9143999"/>
              <a:gd name="connsiteY0" fmla="*/ 345388 h 5144400"/>
              <a:gd name="connsiteX1" fmla="*/ 8441303 w 9143999"/>
              <a:gd name="connsiteY1" fmla="*/ 397979 h 5144400"/>
              <a:gd name="connsiteX2" fmla="*/ 8391839 w 9143999"/>
              <a:gd name="connsiteY2" fmla="*/ 466038 h 5144400"/>
              <a:gd name="connsiteX3" fmla="*/ 8382565 w 9143999"/>
              <a:gd name="connsiteY3" fmla="*/ 466038 h 5144400"/>
              <a:gd name="connsiteX4" fmla="*/ 8382565 w 9143999"/>
              <a:gd name="connsiteY4" fmla="*/ 348482 h 5144400"/>
              <a:gd name="connsiteX5" fmla="*/ 8398022 w 9143999"/>
              <a:gd name="connsiteY5" fmla="*/ 345388 h 5144400"/>
              <a:gd name="connsiteX6" fmla="*/ 8194405 w 9143999"/>
              <a:gd name="connsiteY6" fmla="*/ 339038 h 5144400"/>
              <a:gd name="connsiteX7" fmla="*/ 8222228 w 9143999"/>
              <a:gd name="connsiteY7" fmla="*/ 404046 h 5144400"/>
              <a:gd name="connsiteX8" fmla="*/ 8194405 w 9143999"/>
              <a:gd name="connsiteY8" fmla="*/ 462863 h 5144400"/>
              <a:gd name="connsiteX9" fmla="*/ 8163490 w 9143999"/>
              <a:gd name="connsiteY9" fmla="*/ 400951 h 5144400"/>
              <a:gd name="connsiteX10" fmla="*/ 8194405 w 9143999"/>
              <a:gd name="connsiteY10" fmla="*/ 339038 h 5144400"/>
              <a:gd name="connsiteX11" fmla="*/ 7739627 w 9143999"/>
              <a:gd name="connsiteY11" fmla="*/ 339038 h 5144400"/>
              <a:gd name="connsiteX12" fmla="*/ 7768202 w 9143999"/>
              <a:gd name="connsiteY12" fmla="*/ 404046 h 5144400"/>
              <a:gd name="connsiteX13" fmla="*/ 7739627 w 9143999"/>
              <a:gd name="connsiteY13" fmla="*/ 462863 h 5144400"/>
              <a:gd name="connsiteX14" fmla="*/ 7711052 w 9143999"/>
              <a:gd name="connsiteY14" fmla="*/ 400951 h 5144400"/>
              <a:gd name="connsiteX15" fmla="*/ 7739627 w 9143999"/>
              <a:gd name="connsiteY15" fmla="*/ 339038 h 5144400"/>
              <a:gd name="connsiteX16" fmla="*/ 8619102 w 9143999"/>
              <a:gd name="connsiteY16" fmla="*/ 335863 h 5144400"/>
              <a:gd name="connsiteX17" fmla="*/ 8650852 w 9143999"/>
              <a:gd name="connsiteY17" fmla="*/ 378725 h 5144400"/>
              <a:gd name="connsiteX18" fmla="*/ 8590527 w 9143999"/>
              <a:gd name="connsiteY18" fmla="*/ 378725 h 5144400"/>
              <a:gd name="connsiteX19" fmla="*/ 8619102 w 9143999"/>
              <a:gd name="connsiteY19" fmla="*/ 335863 h 5144400"/>
              <a:gd name="connsiteX20" fmla="*/ 7121217 w 9143999"/>
              <a:gd name="connsiteY20" fmla="*/ 308875 h 5144400"/>
              <a:gd name="connsiteX21" fmla="*/ 7149078 w 9143999"/>
              <a:gd name="connsiteY21" fmla="*/ 410475 h 5144400"/>
              <a:gd name="connsiteX22" fmla="*/ 7087165 w 9143999"/>
              <a:gd name="connsiteY22" fmla="*/ 410475 h 5144400"/>
              <a:gd name="connsiteX23" fmla="*/ 7121217 w 9143999"/>
              <a:gd name="connsiteY23" fmla="*/ 308875 h 5144400"/>
              <a:gd name="connsiteX24" fmla="*/ 7471280 w 9143999"/>
              <a:gd name="connsiteY24" fmla="*/ 305701 h 5144400"/>
              <a:gd name="connsiteX25" fmla="*/ 7471280 w 9143999"/>
              <a:gd name="connsiteY25" fmla="*/ 336410 h 5144400"/>
              <a:gd name="connsiteX26" fmla="*/ 7539787 w 9143999"/>
              <a:gd name="connsiteY26" fmla="*/ 336410 h 5144400"/>
              <a:gd name="connsiteX27" fmla="*/ 7474394 w 9143999"/>
              <a:gd name="connsiteY27" fmla="*/ 465388 h 5144400"/>
              <a:gd name="connsiteX28" fmla="*/ 7471280 w 9143999"/>
              <a:gd name="connsiteY28" fmla="*/ 493026 h 5144400"/>
              <a:gd name="connsiteX29" fmla="*/ 7608294 w 9143999"/>
              <a:gd name="connsiteY29" fmla="*/ 493026 h 5144400"/>
              <a:gd name="connsiteX30" fmla="*/ 7630091 w 9143999"/>
              <a:gd name="connsiteY30" fmla="*/ 471529 h 5144400"/>
              <a:gd name="connsiteX31" fmla="*/ 7630091 w 9143999"/>
              <a:gd name="connsiteY31" fmla="*/ 459246 h 5144400"/>
              <a:gd name="connsiteX32" fmla="*/ 7592724 w 9143999"/>
              <a:gd name="connsiteY32" fmla="*/ 462317 h 5144400"/>
              <a:gd name="connsiteX33" fmla="*/ 7549129 w 9143999"/>
              <a:gd name="connsiteY33" fmla="*/ 462317 h 5144400"/>
              <a:gd name="connsiteX34" fmla="*/ 7626977 w 9143999"/>
              <a:gd name="connsiteY34" fmla="*/ 305701 h 5144400"/>
              <a:gd name="connsiteX35" fmla="*/ 7471280 w 9143999"/>
              <a:gd name="connsiteY35" fmla="*/ 305701 h 5144400"/>
              <a:gd name="connsiteX36" fmla="*/ 8622169 w 9143999"/>
              <a:gd name="connsiteY36" fmla="*/ 305700 h 5144400"/>
              <a:gd name="connsiteX37" fmla="*/ 8525441 w 9143999"/>
              <a:gd name="connsiteY37" fmla="*/ 397827 h 5144400"/>
              <a:gd name="connsiteX38" fmla="*/ 8619049 w 9143999"/>
              <a:gd name="connsiteY38" fmla="*/ 493025 h 5144400"/>
              <a:gd name="connsiteX39" fmla="*/ 8697055 w 9143999"/>
              <a:gd name="connsiteY39" fmla="*/ 434678 h 5144400"/>
              <a:gd name="connsiteX40" fmla="*/ 8644011 w 9143999"/>
              <a:gd name="connsiteY40" fmla="*/ 450033 h 5144400"/>
              <a:gd name="connsiteX41" fmla="*/ 8590966 w 9143999"/>
              <a:gd name="connsiteY41" fmla="*/ 403969 h 5144400"/>
              <a:gd name="connsiteX42" fmla="*/ 8706416 w 9143999"/>
              <a:gd name="connsiteY42" fmla="*/ 403969 h 5144400"/>
              <a:gd name="connsiteX43" fmla="*/ 8706416 w 9143999"/>
              <a:gd name="connsiteY43" fmla="*/ 382473 h 5144400"/>
              <a:gd name="connsiteX44" fmla="*/ 8622169 w 9143999"/>
              <a:gd name="connsiteY44" fmla="*/ 305700 h 5144400"/>
              <a:gd name="connsiteX45" fmla="*/ 8195215 w 9143999"/>
              <a:gd name="connsiteY45" fmla="*/ 305700 h 5144400"/>
              <a:gd name="connsiteX46" fmla="*/ 8098403 w 9143999"/>
              <a:gd name="connsiteY46" fmla="*/ 403969 h 5144400"/>
              <a:gd name="connsiteX47" fmla="*/ 8192092 w 9143999"/>
              <a:gd name="connsiteY47" fmla="*/ 493025 h 5144400"/>
              <a:gd name="connsiteX48" fmla="*/ 8288903 w 9143999"/>
              <a:gd name="connsiteY48" fmla="*/ 394756 h 5144400"/>
              <a:gd name="connsiteX49" fmla="*/ 8195215 w 9143999"/>
              <a:gd name="connsiteY49" fmla="*/ 305700 h 5144400"/>
              <a:gd name="connsiteX50" fmla="*/ 7739629 w 9143999"/>
              <a:gd name="connsiteY50" fmla="*/ 305700 h 5144400"/>
              <a:gd name="connsiteX51" fmla="*/ 7639616 w 9143999"/>
              <a:gd name="connsiteY51" fmla="*/ 403969 h 5144400"/>
              <a:gd name="connsiteX52" fmla="*/ 7739629 w 9143999"/>
              <a:gd name="connsiteY52" fmla="*/ 493025 h 5144400"/>
              <a:gd name="connsiteX53" fmla="*/ 7839641 w 9143999"/>
              <a:gd name="connsiteY53" fmla="*/ 394757 h 5144400"/>
              <a:gd name="connsiteX54" fmla="*/ 7739629 w 9143999"/>
              <a:gd name="connsiteY54" fmla="*/ 305700 h 5144400"/>
              <a:gd name="connsiteX55" fmla="*/ 7102867 w 9143999"/>
              <a:gd name="connsiteY55" fmla="*/ 256489 h 5144400"/>
              <a:gd name="connsiteX56" fmla="*/ 7018903 w 9143999"/>
              <a:gd name="connsiteY56" fmla="*/ 493026 h 5144400"/>
              <a:gd name="connsiteX57" fmla="*/ 7056220 w 9143999"/>
              <a:gd name="connsiteY57" fmla="*/ 493026 h 5144400"/>
              <a:gd name="connsiteX58" fmla="*/ 7077989 w 9143999"/>
              <a:gd name="connsiteY58" fmla="*/ 434659 h 5144400"/>
              <a:gd name="connsiteX59" fmla="*/ 7158843 w 9143999"/>
              <a:gd name="connsiteY59" fmla="*/ 434659 h 5144400"/>
              <a:gd name="connsiteX60" fmla="*/ 7171282 w 9143999"/>
              <a:gd name="connsiteY60" fmla="*/ 471522 h 5144400"/>
              <a:gd name="connsiteX61" fmla="*/ 7196160 w 9143999"/>
              <a:gd name="connsiteY61" fmla="*/ 493026 h 5144400"/>
              <a:gd name="connsiteX62" fmla="*/ 7245916 w 9143999"/>
              <a:gd name="connsiteY62" fmla="*/ 493026 h 5144400"/>
              <a:gd name="connsiteX63" fmla="*/ 7239697 w 9143999"/>
              <a:gd name="connsiteY63" fmla="*/ 477666 h 5144400"/>
              <a:gd name="connsiteX64" fmla="*/ 7180611 w 9143999"/>
              <a:gd name="connsiteY64" fmla="*/ 290280 h 5144400"/>
              <a:gd name="connsiteX65" fmla="*/ 7133965 w 9143999"/>
              <a:gd name="connsiteY65" fmla="*/ 256489 h 5144400"/>
              <a:gd name="connsiteX66" fmla="*/ 7102867 w 9143999"/>
              <a:gd name="connsiteY66" fmla="*/ 256489 h 5144400"/>
              <a:gd name="connsiteX67" fmla="*/ 7866628 w 9143999"/>
              <a:gd name="connsiteY67" fmla="*/ 256488 h 5144400"/>
              <a:gd name="connsiteX68" fmla="*/ 7866628 w 9143999"/>
              <a:gd name="connsiteY68" fmla="*/ 493025 h 5144400"/>
              <a:gd name="connsiteX69" fmla="*/ 7907268 w 9143999"/>
              <a:gd name="connsiteY69" fmla="*/ 493025 h 5144400"/>
              <a:gd name="connsiteX70" fmla="*/ 7907268 w 9143999"/>
              <a:gd name="connsiteY70" fmla="*/ 345574 h 5144400"/>
              <a:gd name="connsiteX71" fmla="*/ 8004179 w 9143999"/>
              <a:gd name="connsiteY71" fmla="*/ 462306 h 5144400"/>
              <a:gd name="connsiteX72" fmla="*/ 8041693 w 9143999"/>
              <a:gd name="connsiteY72" fmla="*/ 493025 h 5144400"/>
              <a:gd name="connsiteX73" fmla="*/ 8069828 w 9143999"/>
              <a:gd name="connsiteY73" fmla="*/ 493025 h 5144400"/>
              <a:gd name="connsiteX74" fmla="*/ 8069828 w 9143999"/>
              <a:gd name="connsiteY74" fmla="*/ 277992 h 5144400"/>
              <a:gd name="connsiteX75" fmla="*/ 8047945 w 9143999"/>
              <a:gd name="connsiteY75" fmla="*/ 256488 h 5144400"/>
              <a:gd name="connsiteX76" fmla="*/ 8029188 w 9143999"/>
              <a:gd name="connsiteY76" fmla="*/ 256488 h 5144400"/>
              <a:gd name="connsiteX77" fmla="*/ 8029188 w 9143999"/>
              <a:gd name="connsiteY77" fmla="*/ 400868 h 5144400"/>
              <a:gd name="connsiteX78" fmla="*/ 7938530 w 9143999"/>
              <a:gd name="connsiteY78" fmla="*/ 284136 h 5144400"/>
              <a:gd name="connsiteX79" fmla="*/ 7894764 w 9143999"/>
              <a:gd name="connsiteY79" fmla="*/ 256488 h 5144400"/>
              <a:gd name="connsiteX80" fmla="*/ 7866628 w 9143999"/>
              <a:gd name="connsiteY80" fmla="*/ 256488 h 5144400"/>
              <a:gd name="connsiteX81" fmla="*/ 8738166 w 9143999"/>
              <a:gd name="connsiteY81" fmla="*/ 237438 h 5144400"/>
              <a:gd name="connsiteX82" fmla="*/ 8738166 w 9143999"/>
              <a:gd name="connsiteY82" fmla="*/ 493025 h 5144400"/>
              <a:gd name="connsiteX83" fmla="*/ 8793729 w 9143999"/>
              <a:gd name="connsiteY83" fmla="*/ 493025 h 5144400"/>
              <a:gd name="connsiteX84" fmla="*/ 8793729 w 9143999"/>
              <a:gd name="connsiteY84" fmla="*/ 274390 h 5144400"/>
              <a:gd name="connsiteX85" fmla="*/ 8759774 w 9143999"/>
              <a:gd name="connsiteY85" fmla="*/ 237438 h 5144400"/>
              <a:gd name="connsiteX86" fmla="*/ 8738166 w 9143999"/>
              <a:gd name="connsiteY86" fmla="*/ 237438 h 5144400"/>
              <a:gd name="connsiteX87" fmla="*/ 8315891 w 9143999"/>
              <a:gd name="connsiteY87" fmla="*/ 237438 h 5144400"/>
              <a:gd name="connsiteX88" fmla="*/ 8315891 w 9143999"/>
              <a:gd name="connsiteY88" fmla="*/ 493025 h 5144400"/>
              <a:gd name="connsiteX89" fmla="*/ 8393965 w 9143999"/>
              <a:gd name="connsiteY89" fmla="*/ 493025 h 5144400"/>
              <a:gd name="connsiteX90" fmla="*/ 8506391 w 9143999"/>
              <a:gd name="connsiteY90" fmla="*/ 388327 h 5144400"/>
              <a:gd name="connsiteX91" fmla="*/ 8431440 w 9143999"/>
              <a:gd name="connsiteY91" fmla="*/ 308263 h 5144400"/>
              <a:gd name="connsiteX92" fmla="*/ 8381473 w 9143999"/>
              <a:gd name="connsiteY92" fmla="*/ 326740 h 5144400"/>
              <a:gd name="connsiteX93" fmla="*/ 8381473 w 9143999"/>
              <a:gd name="connsiteY93" fmla="*/ 274391 h 5144400"/>
              <a:gd name="connsiteX94" fmla="*/ 8340875 w 9143999"/>
              <a:gd name="connsiteY94" fmla="*/ 237438 h 5144400"/>
              <a:gd name="connsiteX95" fmla="*/ 8315891 w 9143999"/>
              <a:gd name="connsiteY95" fmla="*/ 237438 h 5144400"/>
              <a:gd name="connsiteX96" fmla="*/ 7268141 w 9143999"/>
              <a:gd name="connsiteY96" fmla="*/ 237438 h 5144400"/>
              <a:gd name="connsiteX97" fmla="*/ 7268141 w 9143999"/>
              <a:gd name="connsiteY97" fmla="*/ 493025 h 5144400"/>
              <a:gd name="connsiteX98" fmla="*/ 7333229 w 9143999"/>
              <a:gd name="connsiteY98" fmla="*/ 493025 h 5144400"/>
              <a:gd name="connsiteX99" fmla="*/ 7333229 w 9143999"/>
              <a:gd name="connsiteY99" fmla="*/ 420859 h 5144400"/>
              <a:gd name="connsiteX100" fmla="*/ 7333229 w 9143999"/>
              <a:gd name="connsiteY100" fmla="*/ 394758 h 5144400"/>
              <a:gd name="connsiteX101" fmla="*/ 7354980 w 9143999"/>
              <a:gd name="connsiteY101" fmla="*/ 433815 h 5144400"/>
              <a:gd name="connsiteX102" fmla="*/ 7370852 w 9143999"/>
              <a:gd name="connsiteY102" fmla="*/ 462317 h 5144400"/>
              <a:gd name="connsiteX103" fmla="*/ 7405341 w 9143999"/>
              <a:gd name="connsiteY103" fmla="*/ 493026 h 5144400"/>
              <a:gd name="connsiteX104" fmla="*/ 7458641 w 9143999"/>
              <a:gd name="connsiteY104" fmla="*/ 493026 h 5144400"/>
              <a:gd name="connsiteX105" fmla="*/ 7446100 w 9143999"/>
              <a:gd name="connsiteY105" fmla="*/ 477671 h 5144400"/>
              <a:gd name="connsiteX106" fmla="*/ 7395935 w 9143999"/>
              <a:gd name="connsiteY106" fmla="*/ 379402 h 5144400"/>
              <a:gd name="connsiteX107" fmla="*/ 7455506 w 9143999"/>
              <a:gd name="connsiteY107" fmla="*/ 305701 h 5144400"/>
              <a:gd name="connsiteX108" fmla="*/ 7402205 w 9143999"/>
              <a:gd name="connsiteY108" fmla="*/ 305701 h 5144400"/>
              <a:gd name="connsiteX109" fmla="*/ 7334306 w 9143999"/>
              <a:gd name="connsiteY109" fmla="*/ 393365 h 5144400"/>
              <a:gd name="connsiteX110" fmla="*/ 7333229 w 9143999"/>
              <a:gd name="connsiteY110" fmla="*/ 394755 h 5144400"/>
              <a:gd name="connsiteX111" fmla="*/ 7333229 w 9143999"/>
              <a:gd name="connsiteY111" fmla="*/ 366627 h 5144400"/>
              <a:gd name="connsiteX112" fmla="*/ 7333229 w 9143999"/>
              <a:gd name="connsiteY112" fmla="*/ 274391 h 5144400"/>
              <a:gd name="connsiteX113" fmla="*/ 7289837 w 9143999"/>
              <a:gd name="connsiteY113" fmla="*/ 237438 h 5144400"/>
              <a:gd name="connsiteX114" fmla="*/ 7268141 w 9143999"/>
              <a:gd name="connsiteY114" fmla="*/ 237438 h 5144400"/>
              <a:gd name="connsiteX115" fmla="*/ 8932543 w 9143999"/>
              <a:gd name="connsiteY115" fmla="*/ 0 h 5144400"/>
              <a:gd name="connsiteX116" fmla="*/ 9143999 w 9143999"/>
              <a:gd name="connsiteY116" fmla="*/ 0 h 5144400"/>
              <a:gd name="connsiteX117" fmla="*/ 9143999 w 9143999"/>
              <a:gd name="connsiteY117" fmla="*/ 5144400 h 5144400"/>
              <a:gd name="connsiteX118" fmla="*/ 9027314 w 9143999"/>
              <a:gd name="connsiteY118" fmla="*/ 5144400 h 5144400"/>
              <a:gd name="connsiteX119" fmla="*/ 9009627 w 9143999"/>
              <a:gd name="connsiteY119" fmla="*/ 5144400 h 5144400"/>
              <a:gd name="connsiteX120" fmla="*/ 8932543 w 9143999"/>
              <a:gd name="connsiteY120" fmla="*/ 5144400 h 5144400"/>
              <a:gd name="connsiteX121" fmla="*/ 8853155 w 9143999"/>
              <a:gd name="connsiteY121" fmla="*/ 5144400 h 5144400"/>
              <a:gd name="connsiteX122" fmla="*/ 0 w 9143999"/>
              <a:gd name="connsiteY122" fmla="*/ 5144400 h 5144400"/>
              <a:gd name="connsiteX123" fmla="*/ 0 w 9143999"/>
              <a:gd name="connsiteY123" fmla="*/ 902 h 5144400"/>
              <a:gd name="connsiteX124" fmla="*/ 8853155 w 9143999"/>
              <a:gd name="connsiteY124" fmla="*/ 902 h 5144400"/>
              <a:gd name="connsiteX125" fmla="*/ 8853155 w 9143999"/>
              <a:gd name="connsiteY125" fmla="*/ 900 h 5144400"/>
              <a:gd name="connsiteX126" fmla="*/ 8932543 w 9143999"/>
              <a:gd name="connsiteY126" fmla="*/ 90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143999" h="5144400">
                <a:moveTo>
                  <a:pt x="8398022" y="345388"/>
                </a:moveTo>
                <a:cubicBezTo>
                  <a:pt x="8419663" y="345388"/>
                  <a:pt x="8441303" y="367043"/>
                  <a:pt x="8441303" y="397979"/>
                </a:cubicBezTo>
                <a:cubicBezTo>
                  <a:pt x="8441303" y="441289"/>
                  <a:pt x="8422754" y="466038"/>
                  <a:pt x="8391839" y="466038"/>
                </a:cubicBezTo>
                <a:cubicBezTo>
                  <a:pt x="8382565" y="466038"/>
                  <a:pt x="8382565" y="466038"/>
                  <a:pt x="8382565" y="466038"/>
                </a:cubicBezTo>
                <a:cubicBezTo>
                  <a:pt x="8382565" y="348482"/>
                  <a:pt x="8382565" y="348482"/>
                  <a:pt x="8382565" y="348482"/>
                </a:cubicBezTo>
                <a:cubicBezTo>
                  <a:pt x="8385656" y="345388"/>
                  <a:pt x="8388748" y="345388"/>
                  <a:pt x="8398022" y="345388"/>
                </a:cubicBezTo>
                <a:close/>
                <a:moveTo>
                  <a:pt x="8194405" y="339038"/>
                </a:moveTo>
                <a:cubicBezTo>
                  <a:pt x="8212954" y="339038"/>
                  <a:pt x="8222228" y="366899"/>
                  <a:pt x="8222228" y="404046"/>
                </a:cubicBezTo>
                <a:cubicBezTo>
                  <a:pt x="8222228" y="441194"/>
                  <a:pt x="8212954" y="462863"/>
                  <a:pt x="8194405" y="462863"/>
                </a:cubicBezTo>
                <a:cubicBezTo>
                  <a:pt x="8172765" y="462863"/>
                  <a:pt x="8163490" y="438098"/>
                  <a:pt x="8163490" y="400951"/>
                </a:cubicBezTo>
                <a:cubicBezTo>
                  <a:pt x="8163490" y="363803"/>
                  <a:pt x="8172765" y="339038"/>
                  <a:pt x="8194405" y="339038"/>
                </a:cubicBezTo>
                <a:close/>
                <a:moveTo>
                  <a:pt x="7739627" y="339038"/>
                </a:moveTo>
                <a:cubicBezTo>
                  <a:pt x="7761852" y="339038"/>
                  <a:pt x="7768202" y="366899"/>
                  <a:pt x="7768202" y="404046"/>
                </a:cubicBezTo>
                <a:cubicBezTo>
                  <a:pt x="7768202" y="441194"/>
                  <a:pt x="7761852" y="462863"/>
                  <a:pt x="7739627" y="462863"/>
                </a:cubicBezTo>
                <a:cubicBezTo>
                  <a:pt x="7717402" y="462863"/>
                  <a:pt x="7711052" y="438098"/>
                  <a:pt x="7711052" y="400951"/>
                </a:cubicBezTo>
                <a:cubicBezTo>
                  <a:pt x="7711052" y="363803"/>
                  <a:pt x="7717402" y="339038"/>
                  <a:pt x="7739627" y="339038"/>
                </a:cubicBezTo>
                <a:close/>
                <a:moveTo>
                  <a:pt x="8619102" y="335863"/>
                </a:moveTo>
                <a:cubicBezTo>
                  <a:pt x="8644502" y="335863"/>
                  <a:pt x="8650852" y="378725"/>
                  <a:pt x="8650852" y="378725"/>
                </a:cubicBezTo>
                <a:cubicBezTo>
                  <a:pt x="8590527" y="378725"/>
                  <a:pt x="8590527" y="378725"/>
                  <a:pt x="8590527" y="378725"/>
                </a:cubicBezTo>
                <a:cubicBezTo>
                  <a:pt x="8590527" y="354233"/>
                  <a:pt x="8600052" y="335863"/>
                  <a:pt x="8619102" y="335863"/>
                </a:cubicBezTo>
                <a:close/>
                <a:moveTo>
                  <a:pt x="7121217" y="308875"/>
                </a:moveTo>
                <a:cubicBezTo>
                  <a:pt x="7149078" y="410475"/>
                  <a:pt x="7149078" y="410475"/>
                  <a:pt x="7149078" y="410475"/>
                </a:cubicBezTo>
                <a:cubicBezTo>
                  <a:pt x="7087165" y="410475"/>
                  <a:pt x="7087165" y="410475"/>
                  <a:pt x="7087165" y="410475"/>
                </a:cubicBezTo>
                <a:cubicBezTo>
                  <a:pt x="7121217" y="308875"/>
                  <a:pt x="7121217" y="308875"/>
                  <a:pt x="7121217" y="308875"/>
                </a:cubicBezTo>
                <a:close/>
                <a:moveTo>
                  <a:pt x="7471280" y="305701"/>
                </a:moveTo>
                <a:cubicBezTo>
                  <a:pt x="7471280" y="336410"/>
                  <a:pt x="7471280" y="336410"/>
                  <a:pt x="7471280" y="336410"/>
                </a:cubicBezTo>
                <a:cubicBezTo>
                  <a:pt x="7539787" y="336410"/>
                  <a:pt x="7539787" y="336410"/>
                  <a:pt x="7539787" y="336410"/>
                </a:cubicBezTo>
                <a:cubicBezTo>
                  <a:pt x="7474394" y="465388"/>
                  <a:pt x="7474394" y="465388"/>
                  <a:pt x="7474394" y="465388"/>
                </a:cubicBezTo>
                <a:cubicBezTo>
                  <a:pt x="7468166" y="477671"/>
                  <a:pt x="7468166" y="486884"/>
                  <a:pt x="7471280" y="493026"/>
                </a:cubicBezTo>
                <a:cubicBezTo>
                  <a:pt x="7608294" y="493026"/>
                  <a:pt x="7608294" y="493026"/>
                  <a:pt x="7608294" y="493026"/>
                </a:cubicBezTo>
                <a:cubicBezTo>
                  <a:pt x="7620749" y="493026"/>
                  <a:pt x="7630091" y="483813"/>
                  <a:pt x="7630091" y="471529"/>
                </a:cubicBezTo>
                <a:cubicBezTo>
                  <a:pt x="7630091" y="459246"/>
                  <a:pt x="7630091" y="459246"/>
                  <a:pt x="7630091" y="459246"/>
                </a:cubicBezTo>
                <a:cubicBezTo>
                  <a:pt x="7623863" y="462317"/>
                  <a:pt x="7614522" y="462317"/>
                  <a:pt x="7592724" y="462317"/>
                </a:cubicBezTo>
                <a:cubicBezTo>
                  <a:pt x="7549129" y="462317"/>
                  <a:pt x="7549129" y="462317"/>
                  <a:pt x="7549129" y="462317"/>
                </a:cubicBezTo>
                <a:cubicBezTo>
                  <a:pt x="7626977" y="305701"/>
                  <a:pt x="7626977" y="305701"/>
                  <a:pt x="7626977" y="305701"/>
                </a:cubicBezTo>
                <a:cubicBezTo>
                  <a:pt x="7471280" y="305701"/>
                  <a:pt x="7471280" y="305701"/>
                  <a:pt x="7471280" y="305701"/>
                </a:cubicBezTo>
                <a:close/>
                <a:moveTo>
                  <a:pt x="8622169" y="305700"/>
                </a:moveTo>
                <a:cubicBezTo>
                  <a:pt x="8566004" y="305700"/>
                  <a:pt x="8525441" y="342551"/>
                  <a:pt x="8525441" y="397827"/>
                </a:cubicBezTo>
                <a:cubicBezTo>
                  <a:pt x="8525441" y="453103"/>
                  <a:pt x="8562884" y="493025"/>
                  <a:pt x="8619049" y="493025"/>
                </a:cubicBezTo>
                <a:cubicBezTo>
                  <a:pt x="8675213" y="493025"/>
                  <a:pt x="8697055" y="462316"/>
                  <a:pt x="8697055" y="434678"/>
                </a:cubicBezTo>
                <a:cubicBezTo>
                  <a:pt x="8684574" y="443891"/>
                  <a:pt x="8665853" y="450033"/>
                  <a:pt x="8644011" y="450033"/>
                </a:cubicBezTo>
                <a:cubicBezTo>
                  <a:pt x="8612808" y="450033"/>
                  <a:pt x="8590966" y="431607"/>
                  <a:pt x="8590966" y="403969"/>
                </a:cubicBezTo>
                <a:cubicBezTo>
                  <a:pt x="8706416" y="403969"/>
                  <a:pt x="8706416" y="403969"/>
                  <a:pt x="8706416" y="403969"/>
                </a:cubicBezTo>
                <a:cubicBezTo>
                  <a:pt x="8706416" y="394756"/>
                  <a:pt x="8706416" y="388615"/>
                  <a:pt x="8706416" y="382473"/>
                </a:cubicBezTo>
                <a:cubicBezTo>
                  <a:pt x="8706416" y="339480"/>
                  <a:pt x="8675213" y="305700"/>
                  <a:pt x="8622169" y="305700"/>
                </a:cubicBezTo>
                <a:close/>
                <a:moveTo>
                  <a:pt x="8195215" y="305700"/>
                </a:moveTo>
                <a:cubicBezTo>
                  <a:pt x="8139002" y="305700"/>
                  <a:pt x="8098403" y="342551"/>
                  <a:pt x="8098403" y="403969"/>
                </a:cubicBezTo>
                <a:cubicBezTo>
                  <a:pt x="8098403" y="456174"/>
                  <a:pt x="8139002" y="493025"/>
                  <a:pt x="8192092" y="493025"/>
                </a:cubicBezTo>
                <a:cubicBezTo>
                  <a:pt x="8245182" y="493025"/>
                  <a:pt x="8288903" y="456174"/>
                  <a:pt x="8288903" y="394756"/>
                </a:cubicBezTo>
                <a:cubicBezTo>
                  <a:pt x="8288903" y="342551"/>
                  <a:pt x="8248305" y="305700"/>
                  <a:pt x="8195215" y="305700"/>
                </a:cubicBezTo>
                <a:close/>
                <a:moveTo>
                  <a:pt x="7739629" y="305700"/>
                </a:moveTo>
                <a:cubicBezTo>
                  <a:pt x="7686497" y="305700"/>
                  <a:pt x="7639616" y="342551"/>
                  <a:pt x="7639616" y="403969"/>
                </a:cubicBezTo>
                <a:cubicBezTo>
                  <a:pt x="7639616" y="456175"/>
                  <a:pt x="7686497" y="493025"/>
                  <a:pt x="7739629" y="493025"/>
                </a:cubicBezTo>
                <a:cubicBezTo>
                  <a:pt x="7792760" y="493025"/>
                  <a:pt x="7839641" y="456175"/>
                  <a:pt x="7839641" y="394757"/>
                </a:cubicBezTo>
                <a:cubicBezTo>
                  <a:pt x="7839641" y="342551"/>
                  <a:pt x="7795886" y="305700"/>
                  <a:pt x="7739629" y="305700"/>
                </a:cubicBezTo>
                <a:close/>
                <a:moveTo>
                  <a:pt x="7102867" y="256489"/>
                </a:moveTo>
                <a:cubicBezTo>
                  <a:pt x="7018903" y="493026"/>
                  <a:pt x="7018903" y="493026"/>
                  <a:pt x="7018903" y="493026"/>
                </a:cubicBezTo>
                <a:cubicBezTo>
                  <a:pt x="7056220" y="493026"/>
                  <a:pt x="7056220" y="493026"/>
                  <a:pt x="7056220" y="493026"/>
                </a:cubicBezTo>
                <a:cubicBezTo>
                  <a:pt x="7077989" y="434659"/>
                  <a:pt x="7077989" y="434659"/>
                  <a:pt x="7077989" y="434659"/>
                </a:cubicBezTo>
                <a:cubicBezTo>
                  <a:pt x="7158843" y="434659"/>
                  <a:pt x="7158843" y="434659"/>
                  <a:pt x="7158843" y="434659"/>
                </a:cubicBezTo>
                <a:cubicBezTo>
                  <a:pt x="7171282" y="471522"/>
                  <a:pt x="7171282" y="471522"/>
                  <a:pt x="7171282" y="471522"/>
                </a:cubicBezTo>
                <a:cubicBezTo>
                  <a:pt x="7177501" y="486882"/>
                  <a:pt x="7180611" y="493026"/>
                  <a:pt x="7196160" y="493026"/>
                </a:cubicBezTo>
                <a:cubicBezTo>
                  <a:pt x="7245916" y="493026"/>
                  <a:pt x="7245916" y="493026"/>
                  <a:pt x="7245916" y="493026"/>
                </a:cubicBezTo>
                <a:cubicBezTo>
                  <a:pt x="7245916" y="489954"/>
                  <a:pt x="7242806" y="486882"/>
                  <a:pt x="7239697" y="477666"/>
                </a:cubicBezTo>
                <a:cubicBezTo>
                  <a:pt x="7180611" y="290280"/>
                  <a:pt x="7180611" y="290280"/>
                  <a:pt x="7180611" y="290280"/>
                </a:cubicBezTo>
                <a:cubicBezTo>
                  <a:pt x="7171282" y="268776"/>
                  <a:pt x="7161953" y="256489"/>
                  <a:pt x="7133965" y="256489"/>
                </a:cubicBezTo>
                <a:cubicBezTo>
                  <a:pt x="7102867" y="256489"/>
                  <a:pt x="7102867" y="256489"/>
                  <a:pt x="7102867" y="256489"/>
                </a:cubicBezTo>
                <a:close/>
                <a:moveTo>
                  <a:pt x="7866628" y="256488"/>
                </a:moveTo>
                <a:cubicBezTo>
                  <a:pt x="7866628" y="493025"/>
                  <a:pt x="7866628" y="493025"/>
                  <a:pt x="7866628" y="493025"/>
                </a:cubicBezTo>
                <a:cubicBezTo>
                  <a:pt x="7907268" y="493025"/>
                  <a:pt x="7907268" y="493025"/>
                  <a:pt x="7907268" y="493025"/>
                </a:cubicBezTo>
                <a:cubicBezTo>
                  <a:pt x="7907268" y="345574"/>
                  <a:pt x="7907268" y="345574"/>
                  <a:pt x="7907268" y="345574"/>
                </a:cubicBezTo>
                <a:cubicBezTo>
                  <a:pt x="8004179" y="462306"/>
                  <a:pt x="8004179" y="462306"/>
                  <a:pt x="8004179" y="462306"/>
                </a:cubicBezTo>
                <a:cubicBezTo>
                  <a:pt x="8016684" y="480738"/>
                  <a:pt x="8026062" y="493025"/>
                  <a:pt x="8041693" y="493025"/>
                </a:cubicBezTo>
                <a:cubicBezTo>
                  <a:pt x="8069828" y="493025"/>
                  <a:pt x="8069828" y="493025"/>
                  <a:pt x="8069828" y="493025"/>
                </a:cubicBezTo>
                <a:cubicBezTo>
                  <a:pt x="8069828" y="277992"/>
                  <a:pt x="8069828" y="277992"/>
                  <a:pt x="8069828" y="277992"/>
                </a:cubicBezTo>
                <a:cubicBezTo>
                  <a:pt x="8069828" y="265704"/>
                  <a:pt x="8060450" y="256488"/>
                  <a:pt x="8047945" y="256488"/>
                </a:cubicBezTo>
                <a:cubicBezTo>
                  <a:pt x="8029188" y="256488"/>
                  <a:pt x="8029188" y="256488"/>
                  <a:pt x="8029188" y="256488"/>
                </a:cubicBezTo>
                <a:cubicBezTo>
                  <a:pt x="8029188" y="400868"/>
                  <a:pt x="8029188" y="400868"/>
                  <a:pt x="8029188" y="400868"/>
                </a:cubicBezTo>
                <a:cubicBezTo>
                  <a:pt x="7938530" y="284136"/>
                  <a:pt x="7938530" y="284136"/>
                  <a:pt x="7938530" y="284136"/>
                </a:cubicBezTo>
                <a:cubicBezTo>
                  <a:pt x="7922899" y="268776"/>
                  <a:pt x="7916647" y="256488"/>
                  <a:pt x="7894764" y="256488"/>
                </a:cubicBezTo>
                <a:cubicBezTo>
                  <a:pt x="7866628" y="256488"/>
                  <a:pt x="7866628" y="256488"/>
                  <a:pt x="7866628" y="256488"/>
                </a:cubicBezTo>
                <a:close/>
                <a:moveTo>
                  <a:pt x="8738166" y="237438"/>
                </a:moveTo>
                <a:cubicBezTo>
                  <a:pt x="8738166" y="493025"/>
                  <a:pt x="8738166" y="493025"/>
                  <a:pt x="8738166" y="493025"/>
                </a:cubicBezTo>
                <a:cubicBezTo>
                  <a:pt x="8793729" y="493025"/>
                  <a:pt x="8793729" y="493025"/>
                  <a:pt x="8793729" y="493025"/>
                </a:cubicBezTo>
                <a:cubicBezTo>
                  <a:pt x="8793729" y="274390"/>
                  <a:pt x="8793729" y="274390"/>
                  <a:pt x="8793729" y="274390"/>
                </a:cubicBezTo>
                <a:cubicBezTo>
                  <a:pt x="8793729" y="252835"/>
                  <a:pt x="8778295" y="237438"/>
                  <a:pt x="8759774" y="237438"/>
                </a:cubicBezTo>
                <a:cubicBezTo>
                  <a:pt x="8738166" y="237438"/>
                  <a:pt x="8738166" y="237438"/>
                  <a:pt x="8738166" y="237438"/>
                </a:cubicBezTo>
                <a:close/>
                <a:moveTo>
                  <a:pt x="8315891" y="237438"/>
                </a:moveTo>
                <a:cubicBezTo>
                  <a:pt x="8315891" y="493025"/>
                  <a:pt x="8315891" y="493025"/>
                  <a:pt x="8315891" y="493025"/>
                </a:cubicBezTo>
                <a:cubicBezTo>
                  <a:pt x="8393965" y="493025"/>
                  <a:pt x="8393965" y="493025"/>
                  <a:pt x="8393965" y="493025"/>
                </a:cubicBezTo>
                <a:cubicBezTo>
                  <a:pt x="8465793" y="493025"/>
                  <a:pt x="8506391" y="456073"/>
                  <a:pt x="8506391" y="388327"/>
                </a:cubicBezTo>
                <a:cubicBezTo>
                  <a:pt x="8506391" y="342136"/>
                  <a:pt x="8475161" y="308263"/>
                  <a:pt x="8431440" y="308263"/>
                </a:cubicBezTo>
                <a:cubicBezTo>
                  <a:pt x="8409580" y="308263"/>
                  <a:pt x="8390842" y="317502"/>
                  <a:pt x="8381473" y="326740"/>
                </a:cubicBezTo>
                <a:cubicBezTo>
                  <a:pt x="8381473" y="274391"/>
                  <a:pt x="8381473" y="274391"/>
                  <a:pt x="8381473" y="274391"/>
                </a:cubicBezTo>
                <a:cubicBezTo>
                  <a:pt x="8381473" y="252835"/>
                  <a:pt x="8362735" y="237438"/>
                  <a:pt x="8340875" y="237438"/>
                </a:cubicBezTo>
                <a:cubicBezTo>
                  <a:pt x="8315891" y="237438"/>
                  <a:pt x="8315891" y="237438"/>
                  <a:pt x="8315891" y="237438"/>
                </a:cubicBezTo>
                <a:close/>
                <a:moveTo>
                  <a:pt x="7268141" y="237438"/>
                </a:moveTo>
                <a:cubicBezTo>
                  <a:pt x="7268141" y="493025"/>
                  <a:pt x="7268141" y="493025"/>
                  <a:pt x="7268141" y="493025"/>
                </a:cubicBezTo>
                <a:cubicBezTo>
                  <a:pt x="7333229" y="493025"/>
                  <a:pt x="7333229" y="493025"/>
                  <a:pt x="7333229" y="493025"/>
                </a:cubicBezTo>
                <a:cubicBezTo>
                  <a:pt x="7333229" y="465696"/>
                  <a:pt x="7333229" y="441783"/>
                  <a:pt x="7333229" y="420859"/>
                </a:cubicBezTo>
                <a:lnTo>
                  <a:pt x="7333229" y="394758"/>
                </a:lnTo>
                <a:lnTo>
                  <a:pt x="7354980" y="433815"/>
                </a:lnTo>
                <a:cubicBezTo>
                  <a:pt x="7370852" y="462317"/>
                  <a:pt x="7370852" y="462317"/>
                  <a:pt x="7370852" y="462317"/>
                </a:cubicBezTo>
                <a:cubicBezTo>
                  <a:pt x="7380258" y="483813"/>
                  <a:pt x="7383393" y="493026"/>
                  <a:pt x="7405341" y="493026"/>
                </a:cubicBezTo>
                <a:cubicBezTo>
                  <a:pt x="7458641" y="493026"/>
                  <a:pt x="7458641" y="493026"/>
                  <a:pt x="7458641" y="493026"/>
                </a:cubicBezTo>
                <a:cubicBezTo>
                  <a:pt x="7455506" y="489955"/>
                  <a:pt x="7452371" y="486884"/>
                  <a:pt x="7446100" y="477671"/>
                </a:cubicBezTo>
                <a:cubicBezTo>
                  <a:pt x="7395935" y="379402"/>
                  <a:pt x="7395935" y="379402"/>
                  <a:pt x="7395935" y="379402"/>
                </a:cubicBezTo>
                <a:cubicBezTo>
                  <a:pt x="7455506" y="305701"/>
                  <a:pt x="7455506" y="305701"/>
                  <a:pt x="7455506" y="305701"/>
                </a:cubicBezTo>
                <a:cubicBezTo>
                  <a:pt x="7402205" y="305701"/>
                  <a:pt x="7402205" y="305701"/>
                  <a:pt x="7402205" y="305701"/>
                </a:cubicBezTo>
                <a:cubicBezTo>
                  <a:pt x="7350473" y="372493"/>
                  <a:pt x="7337539" y="389191"/>
                  <a:pt x="7334306" y="393365"/>
                </a:cubicBezTo>
                <a:lnTo>
                  <a:pt x="7333229" y="394755"/>
                </a:lnTo>
                <a:lnTo>
                  <a:pt x="7333229" y="366627"/>
                </a:lnTo>
                <a:cubicBezTo>
                  <a:pt x="7333229" y="274391"/>
                  <a:pt x="7333229" y="274391"/>
                  <a:pt x="7333229" y="274391"/>
                </a:cubicBezTo>
                <a:cubicBezTo>
                  <a:pt x="7333229" y="252835"/>
                  <a:pt x="7314633" y="237438"/>
                  <a:pt x="7289837" y="237438"/>
                </a:cubicBezTo>
                <a:cubicBezTo>
                  <a:pt x="7268141" y="237438"/>
                  <a:pt x="7268141" y="237438"/>
                  <a:pt x="7268141" y="237438"/>
                </a:cubicBezTo>
                <a:close/>
                <a:moveTo>
                  <a:pt x="8932543" y="0"/>
                </a:moveTo>
                <a:lnTo>
                  <a:pt x="9143999" y="0"/>
                </a:lnTo>
                <a:lnTo>
                  <a:pt x="9143999" y="5144400"/>
                </a:lnTo>
                <a:lnTo>
                  <a:pt x="9027314" y="5144400"/>
                </a:lnTo>
                <a:lnTo>
                  <a:pt x="9009627" y="5144400"/>
                </a:lnTo>
                <a:lnTo>
                  <a:pt x="8932543" y="5144400"/>
                </a:lnTo>
                <a:lnTo>
                  <a:pt x="8853155" y="5144400"/>
                </a:lnTo>
                <a:lnTo>
                  <a:pt x="0" y="5144400"/>
                </a:lnTo>
                <a:lnTo>
                  <a:pt x="0" y="902"/>
                </a:lnTo>
                <a:lnTo>
                  <a:pt x="8853155" y="902"/>
                </a:lnTo>
                <a:lnTo>
                  <a:pt x="8853155" y="900"/>
                </a:lnTo>
                <a:lnTo>
                  <a:pt x="8932543" y="900"/>
                </a:lnTo>
                <a:close/>
              </a:path>
            </a:pathLst>
          </a:custGeom>
          <a:solidFill>
            <a:srgbClr val="B9C9D0">
              <a:alpha val="50000"/>
            </a:srgbClr>
          </a:solidFill>
        </p:spPr>
        <p:txBody>
          <a:bodyPr wrap="square" bIns="720000" anchor="ctr" anchorCtr="0">
            <a:noAutofit/>
          </a:bodyPr>
          <a:lstStyle>
            <a:lvl1pPr algn="ctr">
              <a:defRPr sz="1200"/>
            </a:lvl1pPr>
          </a:lstStyle>
          <a:p>
            <a:r>
              <a:rPr lang="en-US" noProof="0"/>
              <a:t>Click icon to add picture</a:t>
            </a:r>
            <a:endParaRPr lang="en-US" noProof="0" dirty="0"/>
          </a:p>
        </p:txBody>
      </p:sp>
      <p:graphicFrame>
        <p:nvGraphicFramePr>
          <p:cNvPr id="25" name="Object 2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25" name="Object 2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1" name="Group 20"/>
          <p:cNvGrpSpPr/>
          <p:nvPr/>
        </p:nvGrpSpPr>
        <p:grpSpPr bwMode="gray">
          <a:xfrm>
            <a:off x="9286875" y="182684"/>
            <a:ext cx="1581150" cy="3229876"/>
            <a:chOff x="9286875" y="182684"/>
            <a:chExt cx="1581150" cy="3229876"/>
          </a:xfrm>
        </p:grpSpPr>
        <p:sp>
          <p:nvSpPr>
            <p:cNvPr id="22" name="Rectangle 21"/>
            <p:cNvSpPr/>
            <p:nvPr/>
          </p:nvSpPr>
          <p:spPr bwMode="gray">
            <a:xfrm>
              <a:off x="9288779" y="182684"/>
              <a:ext cx="1579245"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dirty="0">
                  <a:solidFill>
                    <a:schemeClr val="tx1"/>
                  </a:solidFill>
                </a:rPr>
                <a:t>Crop picture</a:t>
              </a:r>
            </a:p>
            <a:p>
              <a:pPr algn="l"/>
              <a:r>
                <a:rPr lang="en-US" sz="900" b="0" dirty="0">
                  <a:solidFill>
                    <a:schemeClr val="tx1"/>
                  </a:solidFill>
                </a:rPr>
                <a:t>Select picture &gt; click</a:t>
              </a:r>
              <a:r>
                <a:rPr lang="en-US" sz="900" b="0" baseline="0" dirty="0">
                  <a:solidFill>
                    <a:schemeClr val="tx1"/>
                  </a:solidFill>
                </a:rPr>
                <a:t> on tab “Picture Tools &gt; Format”</a:t>
              </a:r>
              <a:endParaRPr lang="en-US" sz="900" b="0" dirty="0">
                <a:solidFill>
                  <a:schemeClr val="tx1"/>
                </a:solidFill>
              </a:endParaRPr>
            </a:p>
          </p:txBody>
        </p:sp>
        <p:sp>
          <p:nvSpPr>
            <p:cNvPr id="29" name="Rectangle 28"/>
            <p:cNvSpPr/>
            <p:nvPr/>
          </p:nvSpPr>
          <p:spPr bwMode="gray">
            <a:xfrm>
              <a:off x="9288780" y="1261435"/>
              <a:ext cx="1579244" cy="1662924"/>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dirty="0">
                  <a:solidFill>
                    <a:schemeClr val="tx1"/>
                  </a:solidFill>
                </a:rPr>
                <a:t>Click</a:t>
              </a:r>
              <a:r>
                <a:rPr lang="en-US" sz="900" b="0" baseline="0" dirty="0">
                  <a:solidFill>
                    <a:schemeClr val="tx1"/>
                  </a:solidFill>
                </a:rPr>
                <a:t> on the icon </a:t>
              </a:r>
              <a:br>
                <a:rPr lang="en-US" sz="900" b="0" baseline="0" dirty="0">
                  <a:solidFill>
                    <a:schemeClr val="tx1"/>
                  </a:solidFill>
                </a:rPr>
              </a:br>
              <a:r>
                <a:rPr lang="en-US" sz="900" b="0" baseline="0" dirty="0">
                  <a:solidFill>
                    <a:schemeClr val="tx1"/>
                  </a:solidFill>
                </a:rPr>
                <a:t>above “Crop”</a:t>
              </a:r>
            </a:p>
            <a:p>
              <a:pPr algn="l"/>
              <a:endParaRPr lang="en-US" sz="900" b="0" baseline="0" dirty="0">
                <a:solidFill>
                  <a:schemeClr val="tx1"/>
                </a:solidFill>
              </a:endParaRPr>
            </a:p>
            <a:p>
              <a:pPr algn="l"/>
              <a:r>
                <a:rPr lang="en-US" sz="900" b="0" baseline="0" dirty="0">
                  <a:solidFill>
                    <a:schemeClr val="tx1"/>
                  </a:solidFill>
                </a:rPr>
                <a:t>You will see crop and scale markers on the corners</a:t>
              </a:r>
              <a:endParaRPr lang="en-US" sz="900" b="0" dirty="0">
                <a:solidFill>
                  <a:schemeClr val="tx1"/>
                </a:solidFill>
              </a:endParaRPr>
            </a:p>
          </p:txBody>
        </p:sp>
        <p:pic>
          <p:nvPicPr>
            <p:cNvPr id="30" name="Picture 29"/>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34" name="Picture 33"/>
            <p:cNvPicPr>
              <a:picLocks noChangeAspect="1"/>
            </p:cNvPicPr>
            <p:nvPr/>
          </p:nvPicPr>
          <p:blipFill rotWithShape="1">
            <a:blip r:embed="rId7">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35" name="Picture 34"/>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36" name="Picture 35"/>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37" name="Rectangle 36"/>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38" name="Rectangle 37"/>
            <p:cNvSpPr/>
            <p:nvPr/>
          </p:nvSpPr>
          <p:spPr bwMode="gray">
            <a:xfrm>
              <a:off x="9288780" y="2924359"/>
              <a:ext cx="1579244"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dirty="0">
                  <a:solidFill>
                    <a:schemeClr val="tx1"/>
                  </a:solidFill>
                </a:rPr>
                <a:t>Use the “circular scale icon” to scale your picture within the cropped region.</a:t>
              </a:r>
            </a:p>
          </p:txBody>
        </p:sp>
        <p:cxnSp>
          <p:nvCxnSpPr>
            <p:cNvPr id="39" name="Straight Arrow Connector 38"/>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30" idx="0"/>
              <a:endCxn id="30" idx="2"/>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0" idx="3"/>
              <a:endCxn id="30" idx="1"/>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Oval 42"/>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spTree>
    <p:extLst>
      <p:ext uri="{BB962C8B-B14F-4D97-AF65-F5344CB8AC3E}">
        <p14:creationId xmlns:p14="http://schemas.microsoft.com/office/powerpoint/2010/main" val="33252461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Image with Header and circles 3">
    <p:bg>
      <p:bgPr>
        <a:solidFill>
          <a:srgbClr val="FFFFFF"/>
        </a:solidFill>
        <a:effectLst/>
      </p:bgPr>
    </p:bg>
    <p:spTree>
      <p:nvGrpSpPr>
        <p:cNvPr id="1" name=""/>
        <p:cNvGrpSpPr/>
        <p:nvPr/>
      </p:nvGrpSpPr>
      <p:grpSpPr>
        <a:xfrm>
          <a:off x="0" y="0"/>
          <a:ext cx="0" cy="0"/>
          <a:chOff x="0" y="0"/>
          <a:chExt cx="0" cy="0"/>
        </a:xfrm>
      </p:grpSpPr>
      <p:sp>
        <p:nvSpPr>
          <p:cNvPr id="61" name="Freeform: Shape 60">
            <a:extLst>
              <a:ext uri="{FF2B5EF4-FFF2-40B4-BE49-F238E27FC236}">
                <a16:creationId xmlns:a16="http://schemas.microsoft.com/office/drawing/2014/main" id="{E298552D-DD6A-45C6-9ABB-AF43C8710ECB}"/>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nvGrpSpPr>
          <p:cNvPr id="32" name="Group 33"/>
          <p:cNvGrpSpPr>
            <a:grpSpLocks noChangeAspect="1"/>
          </p:cNvGrpSpPr>
          <p:nvPr/>
        </p:nvGrpSpPr>
        <p:grpSpPr bwMode="gray">
          <a:xfrm>
            <a:off x="7014468" y="236463"/>
            <a:ext cx="1779160" cy="259200"/>
            <a:chOff x="1430338" y="-1666875"/>
            <a:chExt cx="4968876" cy="723900"/>
          </a:xfrm>
          <a:solidFill>
            <a:srgbClr val="FFFFFF"/>
          </a:solidFill>
        </p:grpSpPr>
        <p:sp>
          <p:nvSpPr>
            <p:cNvPr id="34" name="Freeform 33"/>
            <p:cNvSpPr>
              <a:spLocks/>
            </p:cNvSpPr>
            <p:nvPr/>
          </p:nvSpPr>
          <p:spPr bwMode="gray">
            <a:xfrm>
              <a:off x="2705101" y="-1463675"/>
              <a:ext cx="447675" cy="509588"/>
            </a:xfrm>
            <a:custGeom>
              <a:avLst/>
              <a:gdLst/>
              <a:ahLst/>
              <a:cxnLst>
                <a:cxn ang="0">
                  <a:pos x="2" y="136"/>
                </a:cxn>
                <a:cxn ang="0">
                  <a:pos x="104" y="136"/>
                </a:cxn>
                <a:cxn ang="0">
                  <a:pos x="119" y="120"/>
                </a:cxn>
                <a:cxn ang="0">
                  <a:pos x="119" y="112"/>
                </a:cxn>
                <a:cxn ang="0">
                  <a:pos x="93" y="113"/>
                </a:cxn>
                <a:cxn ang="0">
                  <a:pos x="59" y="113"/>
                </a:cxn>
                <a:cxn ang="0">
                  <a:pos x="118" y="0"/>
                </a:cxn>
                <a:cxn ang="0">
                  <a:pos x="2" y="0"/>
                </a:cxn>
                <a:cxn ang="0">
                  <a:pos x="2" y="23"/>
                </a:cxn>
                <a:cxn ang="0">
                  <a:pos x="54" y="23"/>
                </a:cxn>
                <a:cxn ang="0">
                  <a:pos x="5" y="116"/>
                </a:cxn>
                <a:cxn ang="0">
                  <a:pos x="2" y="136"/>
                </a:cxn>
              </a:cxnLst>
              <a:rect l="0" t="0" r="r" b="b"/>
              <a:pathLst>
                <a:path w="119" h="136">
                  <a:moveTo>
                    <a:pt x="2" y="136"/>
                  </a:moveTo>
                  <a:cubicBezTo>
                    <a:pt x="104" y="136"/>
                    <a:pt x="104" y="136"/>
                    <a:pt x="104" y="136"/>
                  </a:cubicBezTo>
                  <a:cubicBezTo>
                    <a:pt x="113" y="136"/>
                    <a:pt x="119" y="129"/>
                    <a:pt x="119" y="120"/>
                  </a:cubicBezTo>
                  <a:cubicBezTo>
                    <a:pt x="119" y="112"/>
                    <a:pt x="119" y="112"/>
                    <a:pt x="119" y="112"/>
                  </a:cubicBezTo>
                  <a:cubicBezTo>
                    <a:pt x="115" y="113"/>
                    <a:pt x="107" y="113"/>
                    <a:pt x="93" y="113"/>
                  </a:cubicBezTo>
                  <a:cubicBezTo>
                    <a:pt x="59" y="113"/>
                    <a:pt x="59" y="113"/>
                    <a:pt x="59" y="113"/>
                  </a:cubicBezTo>
                  <a:cubicBezTo>
                    <a:pt x="118" y="0"/>
                    <a:pt x="118" y="0"/>
                    <a:pt x="118" y="0"/>
                  </a:cubicBezTo>
                  <a:cubicBezTo>
                    <a:pt x="2" y="0"/>
                    <a:pt x="2" y="0"/>
                    <a:pt x="2" y="0"/>
                  </a:cubicBezTo>
                  <a:cubicBezTo>
                    <a:pt x="2" y="23"/>
                    <a:pt x="2" y="23"/>
                    <a:pt x="2" y="23"/>
                  </a:cubicBezTo>
                  <a:cubicBezTo>
                    <a:pt x="54" y="23"/>
                    <a:pt x="54" y="23"/>
                    <a:pt x="54" y="23"/>
                  </a:cubicBezTo>
                  <a:cubicBezTo>
                    <a:pt x="5" y="116"/>
                    <a:pt x="5" y="116"/>
                    <a:pt x="5" y="116"/>
                  </a:cubicBezTo>
                  <a:cubicBezTo>
                    <a:pt x="1" y="124"/>
                    <a:pt x="0" y="131"/>
                    <a:pt x="2" y="13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5"/>
            <p:cNvSpPr>
              <a:spLocks/>
            </p:cNvSpPr>
            <p:nvPr/>
          </p:nvSpPr>
          <p:spPr bwMode="gray">
            <a:xfrm>
              <a:off x="2327276" y="-1463675"/>
              <a:ext cx="344488" cy="509588"/>
            </a:xfrm>
            <a:custGeom>
              <a:avLst/>
              <a:gdLst/>
              <a:ahLst/>
              <a:cxnLst>
                <a:cxn ang="0">
                  <a:pos x="0" y="64"/>
                </a:cxn>
                <a:cxn ang="0">
                  <a:pos x="27" y="115"/>
                </a:cxn>
                <a:cxn ang="0">
                  <a:pos x="54" y="136"/>
                </a:cxn>
                <a:cxn ang="0">
                  <a:pos x="92" y="136"/>
                </a:cxn>
                <a:cxn ang="0">
                  <a:pos x="84" y="124"/>
                </a:cxn>
                <a:cxn ang="0">
                  <a:pos x="46" y="53"/>
                </a:cxn>
                <a:cxn ang="0">
                  <a:pos x="91" y="0"/>
                </a:cxn>
                <a:cxn ang="0">
                  <a:pos x="50" y="0"/>
                </a:cxn>
                <a:cxn ang="0">
                  <a:pos x="0" y="64"/>
                </a:cxn>
              </a:cxnLst>
              <a:rect l="0" t="0" r="r" b="b"/>
              <a:pathLst>
                <a:path w="92" h="136">
                  <a:moveTo>
                    <a:pt x="0" y="64"/>
                  </a:moveTo>
                  <a:cubicBezTo>
                    <a:pt x="27" y="115"/>
                    <a:pt x="27" y="115"/>
                    <a:pt x="27" y="115"/>
                  </a:cubicBezTo>
                  <a:cubicBezTo>
                    <a:pt x="34" y="130"/>
                    <a:pt x="38" y="136"/>
                    <a:pt x="54" y="136"/>
                  </a:cubicBezTo>
                  <a:cubicBezTo>
                    <a:pt x="92" y="136"/>
                    <a:pt x="92" y="136"/>
                    <a:pt x="92" y="136"/>
                  </a:cubicBezTo>
                  <a:cubicBezTo>
                    <a:pt x="90" y="134"/>
                    <a:pt x="88" y="131"/>
                    <a:pt x="84" y="124"/>
                  </a:cubicBezTo>
                  <a:cubicBezTo>
                    <a:pt x="46" y="53"/>
                    <a:pt x="46" y="53"/>
                    <a:pt x="46" y="53"/>
                  </a:cubicBezTo>
                  <a:cubicBezTo>
                    <a:pt x="91" y="0"/>
                    <a:pt x="91" y="0"/>
                    <a:pt x="91" y="0"/>
                  </a:cubicBezTo>
                  <a:cubicBezTo>
                    <a:pt x="50" y="0"/>
                    <a:pt x="50" y="0"/>
                    <a:pt x="50" y="0"/>
                  </a:cubicBezTo>
                  <a:cubicBezTo>
                    <a:pt x="0" y="64"/>
                    <a:pt x="0" y="64"/>
                    <a:pt x="0"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6"/>
            <p:cNvSpPr>
              <a:spLocks/>
            </p:cNvSpPr>
            <p:nvPr/>
          </p:nvSpPr>
          <p:spPr bwMode="gray">
            <a:xfrm>
              <a:off x="2143126" y="-1666875"/>
              <a:ext cx="173038" cy="712788"/>
            </a:xfrm>
            <a:custGeom>
              <a:avLst/>
              <a:gdLst/>
              <a:ahLst/>
              <a:cxnLst>
                <a:cxn ang="0">
                  <a:pos x="0" y="190"/>
                </a:cxn>
                <a:cxn ang="0">
                  <a:pos x="46" y="190"/>
                </a:cxn>
                <a:cxn ang="0">
                  <a:pos x="46" y="28"/>
                </a:cxn>
                <a:cxn ang="0">
                  <a:pos x="17" y="0"/>
                </a:cxn>
                <a:cxn ang="0">
                  <a:pos x="0" y="0"/>
                </a:cxn>
                <a:cxn ang="0">
                  <a:pos x="0" y="190"/>
                </a:cxn>
              </a:cxnLst>
              <a:rect l="0" t="0" r="r" b="b"/>
              <a:pathLst>
                <a:path w="46" h="190">
                  <a:moveTo>
                    <a:pt x="0" y="190"/>
                  </a:moveTo>
                  <a:cubicBezTo>
                    <a:pt x="46" y="190"/>
                    <a:pt x="46" y="190"/>
                    <a:pt x="46" y="190"/>
                  </a:cubicBezTo>
                  <a:cubicBezTo>
                    <a:pt x="46" y="28"/>
                    <a:pt x="46" y="28"/>
                    <a:pt x="46" y="28"/>
                  </a:cubicBezTo>
                  <a:cubicBezTo>
                    <a:pt x="46" y="11"/>
                    <a:pt x="34" y="0"/>
                    <a:pt x="17"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7"/>
            <p:cNvSpPr>
              <a:spLocks noEditPoints="1"/>
            </p:cNvSpPr>
            <p:nvPr/>
          </p:nvSpPr>
          <p:spPr bwMode="gray">
            <a:xfrm>
              <a:off x="1430338" y="-1614488"/>
              <a:ext cx="652463" cy="660400"/>
            </a:xfrm>
            <a:custGeom>
              <a:avLst/>
              <a:gdLst/>
              <a:ahLst/>
              <a:cxnLst>
                <a:cxn ang="0">
                  <a:pos x="52" y="111"/>
                </a:cxn>
                <a:cxn ang="0">
                  <a:pos x="77" y="37"/>
                </a:cxn>
                <a:cxn ang="0">
                  <a:pos x="100" y="111"/>
                </a:cxn>
                <a:cxn ang="0">
                  <a:pos x="52" y="111"/>
                </a:cxn>
                <a:cxn ang="0">
                  <a:pos x="169" y="164"/>
                </a:cxn>
                <a:cxn ang="0">
                  <a:pos x="122" y="24"/>
                </a:cxn>
                <a:cxn ang="0">
                  <a:pos x="87" y="0"/>
                </a:cxn>
                <a:cxn ang="0">
                  <a:pos x="65" y="0"/>
                </a:cxn>
                <a:cxn ang="0">
                  <a:pos x="0" y="176"/>
                </a:cxn>
                <a:cxn ang="0">
                  <a:pos x="29" y="176"/>
                </a:cxn>
                <a:cxn ang="0">
                  <a:pos x="44" y="133"/>
                </a:cxn>
                <a:cxn ang="0">
                  <a:pos x="107" y="133"/>
                </a:cxn>
                <a:cxn ang="0">
                  <a:pos x="116" y="161"/>
                </a:cxn>
                <a:cxn ang="0">
                  <a:pos x="135" y="176"/>
                </a:cxn>
                <a:cxn ang="0">
                  <a:pos x="174" y="176"/>
                </a:cxn>
                <a:cxn ang="0">
                  <a:pos x="169" y="164"/>
                </a:cxn>
              </a:cxnLst>
              <a:rect l="0" t="0" r="r" b="b"/>
              <a:pathLst>
                <a:path w="174" h="176">
                  <a:moveTo>
                    <a:pt x="52" y="111"/>
                  </a:moveTo>
                  <a:cubicBezTo>
                    <a:pt x="77" y="37"/>
                    <a:pt x="77" y="37"/>
                    <a:pt x="77" y="37"/>
                  </a:cubicBezTo>
                  <a:cubicBezTo>
                    <a:pt x="100" y="111"/>
                    <a:pt x="100" y="111"/>
                    <a:pt x="100" y="111"/>
                  </a:cubicBezTo>
                  <a:cubicBezTo>
                    <a:pt x="52" y="111"/>
                    <a:pt x="52" y="111"/>
                    <a:pt x="52" y="111"/>
                  </a:cubicBezTo>
                  <a:close/>
                  <a:moveTo>
                    <a:pt x="169" y="164"/>
                  </a:moveTo>
                  <a:cubicBezTo>
                    <a:pt x="122" y="24"/>
                    <a:pt x="122" y="24"/>
                    <a:pt x="122" y="24"/>
                  </a:cubicBezTo>
                  <a:cubicBezTo>
                    <a:pt x="116" y="8"/>
                    <a:pt x="110" y="0"/>
                    <a:pt x="87" y="0"/>
                  </a:cubicBezTo>
                  <a:cubicBezTo>
                    <a:pt x="65" y="0"/>
                    <a:pt x="65" y="0"/>
                    <a:pt x="65" y="0"/>
                  </a:cubicBezTo>
                  <a:cubicBezTo>
                    <a:pt x="0" y="176"/>
                    <a:pt x="0" y="176"/>
                    <a:pt x="0" y="176"/>
                  </a:cubicBezTo>
                  <a:cubicBezTo>
                    <a:pt x="29" y="176"/>
                    <a:pt x="29" y="176"/>
                    <a:pt x="29" y="176"/>
                  </a:cubicBezTo>
                  <a:cubicBezTo>
                    <a:pt x="44" y="133"/>
                    <a:pt x="44" y="133"/>
                    <a:pt x="44" y="133"/>
                  </a:cubicBezTo>
                  <a:cubicBezTo>
                    <a:pt x="107" y="133"/>
                    <a:pt x="107" y="133"/>
                    <a:pt x="107" y="133"/>
                  </a:cubicBezTo>
                  <a:cubicBezTo>
                    <a:pt x="116" y="161"/>
                    <a:pt x="116" y="161"/>
                    <a:pt x="116" y="161"/>
                  </a:cubicBezTo>
                  <a:cubicBezTo>
                    <a:pt x="120" y="171"/>
                    <a:pt x="124" y="176"/>
                    <a:pt x="135" y="176"/>
                  </a:cubicBezTo>
                  <a:cubicBezTo>
                    <a:pt x="174" y="176"/>
                    <a:pt x="174" y="176"/>
                    <a:pt x="174" y="176"/>
                  </a:cubicBezTo>
                  <a:cubicBezTo>
                    <a:pt x="173" y="174"/>
                    <a:pt x="171" y="171"/>
                    <a:pt x="169" y="1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8"/>
            <p:cNvSpPr>
              <a:spLocks noEditPoints="1"/>
            </p:cNvSpPr>
            <p:nvPr/>
          </p:nvSpPr>
          <p:spPr bwMode="gray">
            <a:xfrm>
              <a:off x="3181351" y="-1474788"/>
              <a:ext cx="541338" cy="531813"/>
            </a:xfrm>
            <a:custGeom>
              <a:avLst/>
              <a:gdLst/>
              <a:ahLst/>
              <a:cxnLst>
                <a:cxn ang="0">
                  <a:pos x="72" y="117"/>
                </a:cxn>
                <a:cxn ang="0">
                  <a:pos x="51" y="70"/>
                </a:cxn>
                <a:cxn ang="0">
                  <a:pos x="72" y="24"/>
                </a:cxn>
                <a:cxn ang="0">
                  <a:pos x="93" y="73"/>
                </a:cxn>
                <a:cxn ang="0">
                  <a:pos x="72" y="117"/>
                </a:cxn>
                <a:cxn ang="0">
                  <a:pos x="72" y="142"/>
                </a:cxn>
                <a:cxn ang="0">
                  <a:pos x="144" y="68"/>
                </a:cxn>
                <a:cxn ang="0">
                  <a:pos x="73" y="0"/>
                </a:cxn>
                <a:cxn ang="0">
                  <a:pos x="0" y="75"/>
                </a:cxn>
                <a:cxn ang="0">
                  <a:pos x="72" y="142"/>
                </a:cxn>
              </a:cxnLst>
              <a:rect l="0" t="0" r="r" b="b"/>
              <a:pathLst>
                <a:path w="144" h="142">
                  <a:moveTo>
                    <a:pt x="72" y="117"/>
                  </a:moveTo>
                  <a:cubicBezTo>
                    <a:pt x="56" y="117"/>
                    <a:pt x="51" y="99"/>
                    <a:pt x="51" y="70"/>
                  </a:cubicBezTo>
                  <a:cubicBezTo>
                    <a:pt x="51" y="43"/>
                    <a:pt x="56" y="24"/>
                    <a:pt x="72" y="24"/>
                  </a:cubicBezTo>
                  <a:cubicBezTo>
                    <a:pt x="88" y="24"/>
                    <a:pt x="93" y="44"/>
                    <a:pt x="93" y="73"/>
                  </a:cubicBezTo>
                  <a:cubicBezTo>
                    <a:pt x="93" y="100"/>
                    <a:pt x="88" y="117"/>
                    <a:pt x="72" y="117"/>
                  </a:cubicBezTo>
                  <a:moveTo>
                    <a:pt x="72" y="142"/>
                  </a:moveTo>
                  <a:cubicBezTo>
                    <a:pt x="111" y="142"/>
                    <a:pt x="144" y="114"/>
                    <a:pt x="144" y="68"/>
                  </a:cubicBezTo>
                  <a:cubicBezTo>
                    <a:pt x="144" y="29"/>
                    <a:pt x="112" y="0"/>
                    <a:pt x="73" y="0"/>
                  </a:cubicBezTo>
                  <a:cubicBezTo>
                    <a:pt x="33" y="0"/>
                    <a:pt x="0" y="28"/>
                    <a:pt x="0" y="75"/>
                  </a:cubicBezTo>
                  <a:cubicBezTo>
                    <a:pt x="0" y="115"/>
                    <a:pt x="33" y="142"/>
                    <a:pt x="72"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9"/>
            <p:cNvSpPr>
              <a:spLocks/>
            </p:cNvSpPr>
            <p:nvPr/>
          </p:nvSpPr>
          <p:spPr bwMode="gray">
            <a:xfrm>
              <a:off x="3800476" y="-1617663"/>
              <a:ext cx="577850" cy="663575"/>
            </a:xfrm>
            <a:custGeom>
              <a:avLst/>
              <a:gdLst/>
              <a:ahLst/>
              <a:cxnLst>
                <a:cxn ang="0">
                  <a:pos x="0" y="177"/>
                </a:cxn>
                <a:cxn ang="0">
                  <a:pos x="30" y="177"/>
                </a:cxn>
                <a:cxn ang="0">
                  <a:pos x="30" y="65"/>
                </a:cxn>
                <a:cxn ang="0">
                  <a:pos x="104" y="154"/>
                </a:cxn>
                <a:cxn ang="0">
                  <a:pos x="133" y="177"/>
                </a:cxn>
                <a:cxn ang="0">
                  <a:pos x="154" y="177"/>
                </a:cxn>
                <a:cxn ang="0">
                  <a:pos x="154" y="16"/>
                </a:cxn>
                <a:cxn ang="0">
                  <a:pos x="138" y="0"/>
                </a:cxn>
                <a:cxn ang="0">
                  <a:pos x="125" y="0"/>
                </a:cxn>
                <a:cxn ang="0">
                  <a:pos x="125" y="107"/>
                </a:cxn>
                <a:cxn ang="0">
                  <a:pos x="54" y="21"/>
                </a:cxn>
                <a:cxn ang="0">
                  <a:pos x="22" y="0"/>
                </a:cxn>
                <a:cxn ang="0">
                  <a:pos x="0" y="0"/>
                </a:cxn>
                <a:cxn ang="0">
                  <a:pos x="0" y="177"/>
                </a:cxn>
              </a:cxnLst>
              <a:rect l="0" t="0" r="r" b="b"/>
              <a:pathLst>
                <a:path w="154" h="177">
                  <a:moveTo>
                    <a:pt x="0" y="177"/>
                  </a:moveTo>
                  <a:cubicBezTo>
                    <a:pt x="30" y="177"/>
                    <a:pt x="30" y="177"/>
                    <a:pt x="30" y="177"/>
                  </a:cubicBezTo>
                  <a:cubicBezTo>
                    <a:pt x="30" y="65"/>
                    <a:pt x="30" y="65"/>
                    <a:pt x="30" y="65"/>
                  </a:cubicBezTo>
                  <a:cubicBezTo>
                    <a:pt x="104" y="154"/>
                    <a:pt x="104" y="154"/>
                    <a:pt x="104" y="154"/>
                  </a:cubicBezTo>
                  <a:cubicBezTo>
                    <a:pt x="115" y="167"/>
                    <a:pt x="122" y="177"/>
                    <a:pt x="133" y="177"/>
                  </a:cubicBezTo>
                  <a:cubicBezTo>
                    <a:pt x="154" y="177"/>
                    <a:pt x="154" y="177"/>
                    <a:pt x="154" y="177"/>
                  </a:cubicBezTo>
                  <a:cubicBezTo>
                    <a:pt x="154" y="16"/>
                    <a:pt x="154" y="16"/>
                    <a:pt x="154" y="16"/>
                  </a:cubicBezTo>
                  <a:cubicBezTo>
                    <a:pt x="154" y="6"/>
                    <a:pt x="148" y="0"/>
                    <a:pt x="138" y="0"/>
                  </a:cubicBezTo>
                  <a:cubicBezTo>
                    <a:pt x="125" y="0"/>
                    <a:pt x="125" y="0"/>
                    <a:pt x="125" y="0"/>
                  </a:cubicBezTo>
                  <a:cubicBezTo>
                    <a:pt x="125" y="107"/>
                    <a:pt x="125" y="107"/>
                    <a:pt x="125" y="107"/>
                  </a:cubicBezTo>
                  <a:cubicBezTo>
                    <a:pt x="54" y="21"/>
                    <a:pt x="54" y="21"/>
                    <a:pt x="54" y="21"/>
                  </a:cubicBezTo>
                  <a:cubicBezTo>
                    <a:pt x="43" y="8"/>
                    <a:pt x="37" y="0"/>
                    <a:pt x="22" y="0"/>
                  </a:cubicBezTo>
                  <a:cubicBezTo>
                    <a:pt x="0" y="0"/>
                    <a:pt x="0" y="0"/>
                    <a:pt x="0" y="0"/>
                  </a:cubicBezTo>
                  <a:cubicBezTo>
                    <a:pt x="0" y="177"/>
                    <a:pt x="0" y="177"/>
                    <a:pt x="0" y="1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30"/>
            <p:cNvSpPr>
              <a:spLocks noEditPoints="1"/>
            </p:cNvSpPr>
            <p:nvPr/>
          </p:nvSpPr>
          <p:spPr bwMode="gray">
            <a:xfrm>
              <a:off x="4456113" y="-1474788"/>
              <a:ext cx="536575" cy="531813"/>
            </a:xfrm>
            <a:custGeom>
              <a:avLst/>
              <a:gdLst/>
              <a:ahLst/>
              <a:cxnLst>
                <a:cxn ang="0">
                  <a:pos x="72" y="117"/>
                </a:cxn>
                <a:cxn ang="0">
                  <a:pos x="50" y="70"/>
                </a:cxn>
                <a:cxn ang="0">
                  <a:pos x="72" y="24"/>
                </a:cxn>
                <a:cxn ang="0">
                  <a:pos x="93" y="73"/>
                </a:cxn>
                <a:cxn ang="0">
                  <a:pos x="72" y="117"/>
                </a:cxn>
                <a:cxn ang="0">
                  <a:pos x="71" y="142"/>
                </a:cxn>
                <a:cxn ang="0">
                  <a:pos x="143" y="68"/>
                </a:cxn>
                <a:cxn ang="0">
                  <a:pos x="72" y="0"/>
                </a:cxn>
                <a:cxn ang="0">
                  <a:pos x="0" y="75"/>
                </a:cxn>
                <a:cxn ang="0">
                  <a:pos x="71" y="142"/>
                </a:cxn>
              </a:cxnLst>
              <a:rect l="0" t="0" r="r" b="b"/>
              <a:pathLst>
                <a:path w="143" h="142">
                  <a:moveTo>
                    <a:pt x="72" y="117"/>
                  </a:moveTo>
                  <a:cubicBezTo>
                    <a:pt x="56" y="117"/>
                    <a:pt x="50" y="99"/>
                    <a:pt x="50" y="70"/>
                  </a:cubicBezTo>
                  <a:cubicBezTo>
                    <a:pt x="50" y="43"/>
                    <a:pt x="56" y="24"/>
                    <a:pt x="72" y="24"/>
                  </a:cubicBezTo>
                  <a:cubicBezTo>
                    <a:pt x="88" y="24"/>
                    <a:pt x="93" y="44"/>
                    <a:pt x="93" y="73"/>
                  </a:cubicBezTo>
                  <a:cubicBezTo>
                    <a:pt x="93" y="100"/>
                    <a:pt x="88" y="117"/>
                    <a:pt x="72" y="117"/>
                  </a:cubicBezTo>
                  <a:moveTo>
                    <a:pt x="71" y="142"/>
                  </a:moveTo>
                  <a:cubicBezTo>
                    <a:pt x="110" y="142"/>
                    <a:pt x="143" y="114"/>
                    <a:pt x="143" y="68"/>
                  </a:cubicBezTo>
                  <a:cubicBezTo>
                    <a:pt x="143" y="29"/>
                    <a:pt x="112" y="0"/>
                    <a:pt x="72" y="0"/>
                  </a:cubicBezTo>
                  <a:cubicBezTo>
                    <a:pt x="32" y="0"/>
                    <a:pt x="0" y="28"/>
                    <a:pt x="0" y="75"/>
                  </a:cubicBezTo>
                  <a:cubicBezTo>
                    <a:pt x="0" y="115"/>
                    <a:pt x="32" y="142"/>
                    <a:pt x="71"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31"/>
            <p:cNvSpPr>
              <a:spLocks noEditPoints="1"/>
            </p:cNvSpPr>
            <p:nvPr/>
          </p:nvSpPr>
          <p:spPr bwMode="gray">
            <a:xfrm>
              <a:off x="5645151" y="-1474788"/>
              <a:ext cx="506413" cy="531813"/>
            </a:xfrm>
            <a:custGeom>
              <a:avLst/>
              <a:gdLst/>
              <a:ahLst/>
              <a:cxnLst>
                <a:cxn ang="0">
                  <a:pos x="47" y="55"/>
                </a:cxn>
                <a:cxn ang="0">
                  <a:pos x="69" y="22"/>
                </a:cxn>
                <a:cxn ang="0">
                  <a:pos x="91" y="55"/>
                </a:cxn>
                <a:cxn ang="0">
                  <a:pos x="47" y="55"/>
                </a:cxn>
                <a:cxn ang="0">
                  <a:pos x="134" y="74"/>
                </a:cxn>
                <a:cxn ang="0">
                  <a:pos x="135" y="58"/>
                </a:cxn>
                <a:cxn ang="0">
                  <a:pos x="70" y="0"/>
                </a:cxn>
                <a:cxn ang="0">
                  <a:pos x="0" y="71"/>
                </a:cxn>
                <a:cxn ang="0">
                  <a:pos x="68" y="142"/>
                </a:cxn>
                <a:cxn ang="0">
                  <a:pos x="127" y="99"/>
                </a:cxn>
                <a:cxn ang="0">
                  <a:pos x="88" y="109"/>
                </a:cxn>
                <a:cxn ang="0">
                  <a:pos x="47" y="74"/>
                </a:cxn>
                <a:cxn ang="0">
                  <a:pos x="134" y="74"/>
                </a:cxn>
              </a:cxnLst>
              <a:rect l="0" t="0" r="r" b="b"/>
              <a:pathLst>
                <a:path w="135" h="142">
                  <a:moveTo>
                    <a:pt x="47" y="55"/>
                  </a:moveTo>
                  <a:cubicBezTo>
                    <a:pt x="48" y="35"/>
                    <a:pt x="56" y="22"/>
                    <a:pt x="69" y="22"/>
                  </a:cubicBezTo>
                  <a:cubicBezTo>
                    <a:pt x="88" y="22"/>
                    <a:pt x="91" y="55"/>
                    <a:pt x="91" y="55"/>
                  </a:cubicBezTo>
                  <a:cubicBezTo>
                    <a:pt x="47" y="55"/>
                    <a:pt x="47" y="55"/>
                    <a:pt x="47" y="55"/>
                  </a:cubicBezTo>
                  <a:close/>
                  <a:moveTo>
                    <a:pt x="134" y="74"/>
                  </a:moveTo>
                  <a:cubicBezTo>
                    <a:pt x="135" y="68"/>
                    <a:pt x="135" y="63"/>
                    <a:pt x="135" y="58"/>
                  </a:cubicBezTo>
                  <a:cubicBezTo>
                    <a:pt x="135" y="26"/>
                    <a:pt x="111" y="0"/>
                    <a:pt x="70" y="0"/>
                  </a:cubicBezTo>
                  <a:cubicBezTo>
                    <a:pt x="29" y="0"/>
                    <a:pt x="0" y="28"/>
                    <a:pt x="0" y="71"/>
                  </a:cubicBezTo>
                  <a:cubicBezTo>
                    <a:pt x="0" y="113"/>
                    <a:pt x="26" y="142"/>
                    <a:pt x="68" y="142"/>
                  </a:cubicBezTo>
                  <a:cubicBezTo>
                    <a:pt x="111" y="142"/>
                    <a:pt x="126" y="120"/>
                    <a:pt x="127" y="99"/>
                  </a:cubicBezTo>
                  <a:cubicBezTo>
                    <a:pt x="118" y="105"/>
                    <a:pt x="104" y="109"/>
                    <a:pt x="88" y="109"/>
                  </a:cubicBezTo>
                  <a:cubicBezTo>
                    <a:pt x="65" y="109"/>
                    <a:pt x="49" y="96"/>
                    <a:pt x="47" y="74"/>
                  </a:cubicBezTo>
                  <a:cubicBezTo>
                    <a:pt x="134" y="74"/>
                    <a:pt x="134" y="74"/>
                    <a:pt x="134"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32"/>
            <p:cNvSpPr>
              <a:spLocks noEditPoints="1"/>
            </p:cNvSpPr>
            <p:nvPr/>
          </p:nvSpPr>
          <p:spPr bwMode="gray">
            <a:xfrm>
              <a:off x="5072063" y="-1666875"/>
              <a:ext cx="509588" cy="712788"/>
            </a:xfrm>
            <a:custGeom>
              <a:avLst/>
              <a:gdLst/>
              <a:ahLst/>
              <a:cxnLst>
                <a:cxn ang="0">
                  <a:pos x="54" y="167"/>
                </a:cxn>
                <a:cxn ang="0">
                  <a:pos x="46" y="167"/>
                </a:cxn>
                <a:cxn ang="0">
                  <a:pos x="46" y="80"/>
                </a:cxn>
                <a:cxn ang="0">
                  <a:pos x="57" y="79"/>
                </a:cxn>
                <a:cxn ang="0">
                  <a:pos x="88" y="117"/>
                </a:cxn>
                <a:cxn ang="0">
                  <a:pos x="54" y="167"/>
                </a:cxn>
                <a:cxn ang="0">
                  <a:pos x="82" y="52"/>
                </a:cxn>
                <a:cxn ang="0">
                  <a:pos x="46" y="65"/>
                </a:cxn>
                <a:cxn ang="0">
                  <a:pos x="46" y="28"/>
                </a:cxn>
                <a:cxn ang="0">
                  <a:pos x="17" y="0"/>
                </a:cxn>
                <a:cxn ang="0">
                  <a:pos x="0" y="0"/>
                </a:cxn>
                <a:cxn ang="0">
                  <a:pos x="0" y="190"/>
                </a:cxn>
                <a:cxn ang="0">
                  <a:pos x="55" y="190"/>
                </a:cxn>
                <a:cxn ang="0">
                  <a:pos x="136" y="112"/>
                </a:cxn>
                <a:cxn ang="0">
                  <a:pos x="82" y="52"/>
                </a:cxn>
              </a:cxnLst>
              <a:rect l="0" t="0" r="r" b="b"/>
              <a:pathLst>
                <a:path w="136" h="190">
                  <a:moveTo>
                    <a:pt x="54" y="167"/>
                  </a:moveTo>
                  <a:cubicBezTo>
                    <a:pt x="46" y="167"/>
                    <a:pt x="46" y="167"/>
                    <a:pt x="46" y="167"/>
                  </a:cubicBezTo>
                  <a:cubicBezTo>
                    <a:pt x="46" y="80"/>
                    <a:pt x="46" y="80"/>
                    <a:pt x="46" y="80"/>
                  </a:cubicBezTo>
                  <a:cubicBezTo>
                    <a:pt x="49" y="79"/>
                    <a:pt x="52" y="79"/>
                    <a:pt x="57" y="79"/>
                  </a:cubicBezTo>
                  <a:cubicBezTo>
                    <a:pt x="74" y="79"/>
                    <a:pt x="88" y="95"/>
                    <a:pt x="88" y="117"/>
                  </a:cubicBezTo>
                  <a:cubicBezTo>
                    <a:pt x="88" y="150"/>
                    <a:pt x="76" y="167"/>
                    <a:pt x="54" y="167"/>
                  </a:cubicBezTo>
                  <a:close/>
                  <a:moveTo>
                    <a:pt x="82" y="52"/>
                  </a:moveTo>
                  <a:cubicBezTo>
                    <a:pt x="66" y="52"/>
                    <a:pt x="53" y="58"/>
                    <a:pt x="46" y="65"/>
                  </a:cubicBezTo>
                  <a:cubicBezTo>
                    <a:pt x="46" y="28"/>
                    <a:pt x="46" y="28"/>
                    <a:pt x="46" y="28"/>
                  </a:cubicBezTo>
                  <a:cubicBezTo>
                    <a:pt x="46" y="11"/>
                    <a:pt x="34" y="0"/>
                    <a:pt x="17" y="0"/>
                  </a:cubicBezTo>
                  <a:cubicBezTo>
                    <a:pt x="0" y="0"/>
                    <a:pt x="0" y="0"/>
                    <a:pt x="0" y="0"/>
                  </a:cubicBezTo>
                  <a:cubicBezTo>
                    <a:pt x="0" y="190"/>
                    <a:pt x="0" y="190"/>
                    <a:pt x="0" y="190"/>
                  </a:cubicBezTo>
                  <a:cubicBezTo>
                    <a:pt x="55" y="190"/>
                    <a:pt x="55" y="190"/>
                    <a:pt x="55" y="190"/>
                  </a:cubicBezTo>
                  <a:cubicBezTo>
                    <a:pt x="107" y="190"/>
                    <a:pt x="136" y="163"/>
                    <a:pt x="136" y="112"/>
                  </a:cubicBezTo>
                  <a:cubicBezTo>
                    <a:pt x="136" y="78"/>
                    <a:pt x="113" y="52"/>
                    <a:pt x="82" y="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33"/>
            <p:cNvSpPr>
              <a:spLocks/>
            </p:cNvSpPr>
            <p:nvPr/>
          </p:nvSpPr>
          <p:spPr bwMode="gray">
            <a:xfrm>
              <a:off x="6223001" y="-1666875"/>
              <a:ext cx="176213" cy="712788"/>
            </a:xfrm>
            <a:custGeom>
              <a:avLst/>
              <a:gdLst/>
              <a:ahLst/>
              <a:cxnLst>
                <a:cxn ang="0">
                  <a:pos x="0" y="190"/>
                </a:cxn>
                <a:cxn ang="0">
                  <a:pos x="47" y="190"/>
                </a:cxn>
                <a:cxn ang="0">
                  <a:pos x="47" y="28"/>
                </a:cxn>
                <a:cxn ang="0">
                  <a:pos x="18" y="0"/>
                </a:cxn>
                <a:cxn ang="0">
                  <a:pos x="0" y="0"/>
                </a:cxn>
                <a:cxn ang="0">
                  <a:pos x="0" y="190"/>
                </a:cxn>
              </a:cxnLst>
              <a:rect l="0" t="0" r="r" b="b"/>
              <a:pathLst>
                <a:path w="47" h="190">
                  <a:moveTo>
                    <a:pt x="0" y="190"/>
                  </a:moveTo>
                  <a:cubicBezTo>
                    <a:pt x="47" y="190"/>
                    <a:pt x="47" y="190"/>
                    <a:pt x="47" y="190"/>
                  </a:cubicBezTo>
                  <a:cubicBezTo>
                    <a:pt x="47" y="28"/>
                    <a:pt x="47" y="28"/>
                    <a:pt x="47" y="28"/>
                  </a:cubicBezTo>
                  <a:cubicBezTo>
                    <a:pt x="47" y="11"/>
                    <a:pt x="35" y="0"/>
                    <a:pt x="18"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7" name="Picture Placeholder 66"/>
          <p:cNvSpPr>
            <a:spLocks noGrp="1"/>
          </p:cNvSpPr>
          <p:nvPr>
            <p:ph type="pic" sz="quarter" idx="17"/>
          </p:nvPr>
        </p:nvSpPr>
        <p:spPr bwMode="gray">
          <a:xfrm>
            <a:off x="1" y="-900"/>
            <a:ext cx="9143999" cy="5144400"/>
          </a:xfrm>
          <a:custGeom>
            <a:avLst/>
            <a:gdLst>
              <a:gd name="connsiteX0" fmla="*/ 8398022 w 9143999"/>
              <a:gd name="connsiteY0" fmla="*/ 345388 h 5144400"/>
              <a:gd name="connsiteX1" fmla="*/ 8441303 w 9143999"/>
              <a:gd name="connsiteY1" fmla="*/ 397979 h 5144400"/>
              <a:gd name="connsiteX2" fmla="*/ 8391839 w 9143999"/>
              <a:gd name="connsiteY2" fmla="*/ 466038 h 5144400"/>
              <a:gd name="connsiteX3" fmla="*/ 8382565 w 9143999"/>
              <a:gd name="connsiteY3" fmla="*/ 466038 h 5144400"/>
              <a:gd name="connsiteX4" fmla="*/ 8382565 w 9143999"/>
              <a:gd name="connsiteY4" fmla="*/ 348482 h 5144400"/>
              <a:gd name="connsiteX5" fmla="*/ 8398022 w 9143999"/>
              <a:gd name="connsiteY5" fmla="*/ 345388 h 5144400"/>
              <a:gd name="connsiteX6" fmla="*/ 8194405 w 9143999"/>
              <a:gd name="connsiteY6" fmla="*/ 339038 h 5144400"/>
              <a:gd name="connsiteX7" fmla="*/ 8222228 w 9143999"/>
              <a:gd name="connsiteY7" fmla="*/ 404046 h 5144400"/>
              <a:gd name="connsiteX8" fmla="*/ 8194405 w 9143999"/>
              <a:gd name="connsiteY8" fmla="*/ 462863 h 5144400"/>
              <a:gd name="connsiteX9" fmla="*/ 8163490 w 9143999"/>
              <a:gd name="connsiteY9" fmla="*/ 400951 h 5144400"/>
              <a:gd name="connsiteX10" fmla="*/ 8194405 w 9143999"/>
              <a:gd name="connsiteY10" fmla="*/ 339038 h 5144400"/>
              <a:gd name="connsiteX11" fmla="*/ 7739627 w 9143999"/>
              <a:gd name="connsiteY11" fmla="*/ 339038 h 5144400"/>
              <a:gd name="connsiteX12" fmla="*/ 7768202 w 9143999"/>
              <a:gd name="connsiteY12" fmla="*/ 404046 h 5144400"/>
              <a:gd name="connsiteX13" fmla="*/ 7739627 w 9143999"/>
              <a:gd name="connsiteY13" fmla="*/ 462863 h 5144400"/>
              <a:gd name="connsiteX14" fmla="*/ 7711052 w 9143999"/>
              <a:gd name="connsiteY14" fmla="*/ 400951 h 5144400"/>
              <a:gd name="connsiteX15" fmla="*/ 7739627 w 9143999"/>
              <a:gd name="connsiteY15" fmla="*/ 339038 h 5144400"/>
              <a:gd name="connsiteX16" fmla="*/ 8619102 w 9143999"/>
              <a:gd name="connsiteY16" fmla="*/ 335863 h 5144400"/>
              <a:gd name="connsiteX17" fmla="*/ 8650852 w 9143999"/>
              <a:gd name="connsiteY17" fmla="*/ 378725 h 5144400"/>
              <a:gd name="connsiteX18" fmla="*/ 8590527 w 9143999"/>
              <a:gd name="connsiteY18" fmla="*/ 378725 h 5144400"/>
              <a:gd name="connsiteX19" fmla="*/ 8619102 w 9143999"/>
              <a:gd name="connsiteY19" fmla="*/ 335863 h 5144400"/>
              <a:gd name="connsiteX20" fmla="*/ 7121217 w 9143999"/>
              <a:gd name="connsiteY20" fmla="*/ 308875 h 5144400"/>
              <a:gd name="connsiteX21" fmla="*/ 7149078 w 9143999"/>
              <a:gd name="connsiteY21" fmla="*/ 410475 h 5144400"/>
              <a:gd name="connsiteX22" fmla="*/ 7087165 w 9143999"/>
              <a:gd name="connsiteY22" fmla="*/ 410475 h 5144400"/>
              <a:gd name="connsiteX23" fmla="*/ 7121217 w 9143999"/>
              <a:gd name="connsiteY23" fmla="*/ 308875 h 5144400"/>
              <a:gd name="connsiteX24" fmla="*/ 7471280 w 9143999"/>
              <a:gd name="connsiteY24" fmla="*/ 305701 h 5144400"/>
              <a:gd name="connsiteX25" fmla="*/ 7471280 w 9143999"/>
              <a:gd name="connsiteY25" fmla="*/ 336410 h 5144400"/>
              <a:gd name="connsiteX26" fmla="*/ 7539787 w 9143999"/>
              <a:gd name="connsiteY26" fmla="*/ 336410 h 5144400"/>
              <a:gd name="connsiteX27" fmla="*/ 7474394 w 9143999"/>
              <a:gd name="connsiteY27" fmla="*/ 465388 h 5144400"/>
              <a:gd name="connsiteX28" fmla="*/ 7471280 w 9143999"/>
              <a:gd name="connsiteY28" fmla="*/ 493026 h 5144400"/>
              <a:gd name="connsiteX29" fmla="*/ 7608294 w 9143999"/>
              <a:gd name="connsiteY29" fmla="*/ 493026 h 5144400"/>
              <a:gd name="connsiteX30" fmla="*/ 7630091 w 9143999"/>
              <a:gd name="connsiteY30" fmla="*/ 471529 h 5144400"/>
              <a:gd name="connsiteX31" fmla="*/ 7630091 w 9143999"/>
              <a:gd name="connsiteY31" fmla="*/ 459246 h 5144400"/>
              <a:gd name="connsiteX32" fmla="*/ 7592724 w 9143999"/>
              <a:gd name="connsiteY32" fmla="*/ 462317 h 5144400"/>
              <a:gd name="connsiteX33" fmla="*/ 7549129 w 9143999"/>
              <a:gd name="connsiteY33" fmla="*/ 462317 h 5144400"/>
              <a:gd name="connsiteX34" fmla="*/ 7626977 w 9143999"/>
              <a:gd name="connsiteY34" fmla="*/ 305701 h 5144400"/>
              <a:gd name="connsiteX35" fmla="*/ 7471280 w 9143999"/>
              <a:gd name="connsiteY35" fmla="*/ 305701 h 5144400"/>
              <a:gd name="connsiteX36" fmla="*/ 8622169 w 9143999"/>
              <a:gd name="connsiteY36" fmla="*/ 305700 h 5144400"/>
              <a:gd name="connsiteX37" fmla="*/ 8525441 w 9143999"/>
              <a:gd name="connsiteY37" fmla="*/ 397827 h 5144400"/>
              <a:gd name="connsiteX38" fmla="*/ 8619049 w 9143999"/>
              <a:gd name="connsiteY38" fmla="*/ 493025 h 5144400"/>
              <a:gd name="connsiteX39" fmla="*/ 8697055 w 9143999"/>
              <a:gd name="connsiteY39" fmla="*/ 434678 h 5144400"/>
              <a:gd name="connsiteX40" fmla="*/ 8644011 w 9143999"/>
              <a:gd name="connsiteY40" fmla="*/ 450033 h 5144400"/>
              <a:gd name="connsiteX41" fmla="*/ 8590966 w 9143999"/>
              <a:gd name="connsiteY41" fmla="*/ 403969 h 5144400"/>
              <a:gd name="connsiteX42" fmla="*/ 8706416 w 9143999"/>
              <a:gd name="connsiteY42" fmla="*/ 403969 h 5144400"/>
              <a:gd name="connsiteX43" fmla="*/ 8706416 w 9143999"/>
              <a:gd name="connsiteY43" fmla="*/ 382473 h 5144400"/>
              <a:gd name="connsiteX44" fmla="*/ 8622169 w 9143999"/>
              <a:gd name="connsiteY44" fmla="*/ 305700 h 5144400"/>
              <a:gd name="connsiteX45" fmla="*/ 8195215 w 9143999"/>
              <a:gd name="connsiteY45" fmla="*/ 305700 h 5144400"/>
              <a:gd name="connsiteX46" fmla="*/ 8098403 w 9143999"/>
              <a:gd name="connsiteY46" fmla="*/ 403969 h 5144400"/>
              <a:gd name="connsiteX47" fmla="*/ 8192092 w 9143999"/>
              <a:gd name="connsiteY47" fmla="*/ 493025 h 5144400"/>
              <a:gd name="connsiteX48" fmla="*/ 8288903 w 9143999"/>
              <a:gd name="connsiteY48" fmla="*/ 394756 h 5144400"/>
              <a:gd name="connsiteX49" fmla="*/ 8195215 w 9143999"/>
              <a:gd name="connsiteY49" fmla="*/ 305700 h 5144400"/>
              <a:gd name="connsiteX50" fmla="*/ 7739629 w 9143999"/>
              <a:gd name="connsiteY50" fmla="*/ 305700 h 5144400"/>
              <a:gd name="connsiteX51" fmla="*/ 7639616 w 9143999"/>
              <a:gd name="connsiteY51" fmla="*/ 403969 h 5144400"/>
              <a:gd name="connsiteX52" fmla="*/ 7739629 w 9143999"/>
              <a:gd name="connsiteY52" fmla="*/ 493025 h 5144400"/>
              <a:gd name="connsiteX53" fmla="*/ 7839641 w 9143999"/>
              <a:gd name="connsiteY53" fmla="*/ 394757 h 5144400"/>
              <a:gd name="connsiteX54" fmla="*/ 7739629 w 9143999"/>
              <a:gd name="connsiteY54" fmla="*/ 305700 h 5144400"/>
              <a:gd name="connsiteX55" fmla="*/ 7102867 w 9143999"/>
              <a:gd name="connsiteY55" fmla="*/ 256489 h 5144400"/>
              <a:gd name="connsiteX56" fmla="*/ 7018903 w 9143999"/>
              <a:gd name="connsiteY56" fmla="*/ 493026 h 5144400"/>
              <a:gd name="connsiteX57" fmla="*/ 7056220 w 9143999"/>
              <a:gd name="connsiteY57" fmla="*/ 493026 h 5144400"/>
              <a:gd name="connsiteX58" fmla="*/ 7077989 w 9143999"/>
              <a:gd name="connsiteY58" fmla="*/ 434659 h 5144400"/>
              <a:gd name="connsiteX59" fmla="*/ 7158843 w 9143999"/>
              <a:gd name="connsiteY59" fmla="*/ 434659 h 5144400"/>
              <a:gd name="connsiteX60" fmla="*/ 7171282 w 9143999"/>
              <a:gd name="connsiteY60" fmla="*/ 471522 h 5144400"/>
              <a:gd name="connsiteX61" fmla="*/ 7196160 w 9143999"/>
              <a:gd name="connsiteY61" fmla="*/ 493026 h 5144400"/>
              <a:gd name="connsiteX62" fmla="*/ 7245916 w 9143999"/>
              <a:gd name="connsiteY62" fmla="*/ 493026 h 5144400"/>
              <a:gd name="connsiteX63" fmla="*/ 7239697 w 9143999"/>
              <a:gd name="connsiteY63" fmla="*/ 477666 h 5144400"/>
              <a:gd name="connsiteX64" fmla="*/ 7180611 w 9143999"/>
              <a:gd name="connsiteY64" fmla="*/ 290280 h 5144400"/>
              <a:gd name="connsiteX65" fmla="*/ 7133965 w 9143999"/>
              <a:gd name="connsiteY65" fmla="*/ 256489 h 5144400"/>
              <a:gd name="connsiteX66" fmla="*/ 7102867 w 9143999"/>
              <a:gd name="connsiteY66" fmla="*/ 256489 h 5144400"/>
              <a:gd name="connsiteX67" fmla="*/ 7866628 w 9143999"/>
              <a:gd name="connsiteY67" fmla="*/ 256488 h 5144400"/>
              <a:gd name="connsiteX68" fmla="*/ 7866628 w 9143999"/>
              <a:gd name="connsiteY68" fmla="*/ 493025 h 5144400"/>
              <a:gd name="connsiteX69" fmla="*/ 7907268 w 9143999"/>
              <a:gd name="connsiteY69" fmla="*/ 493025 h 5144400"/>
              <a:gd name="connsiteX70" fmla="*/ 7907268 w 9143999"/>
              <a:gd name="connsiteY70" fmla="*/ 345574 h 5144400"/>
              <a:gd name="connsiteX71" fmla="*/ 8004179 w 9143999"/>
              <a:gd name="connsiteY71" fmla="*/ 462306 h 5144400"/>
              <a:gd name="connsiteX72" fmla="*/ 8041693 w 9143999"/>
              <a:gd name="connsiteY72" fmla="*/ 493025 h 5144400"/>
              <a:gd name="connsiteX73" fmla="*/ 8069828 w 9143999"/>
              <a:gd name="connsiteY73" fmla="*/ 493025 h 5144400"/>
              <a:gd name="connsiteX74" fmla="*/ 8069828 w 9143999"/>
              <a:gd name="connsiteY74" fmla="*/ 277992 h 5144400"/>
              <a:gd name="connsiteX75" fmla="*/ 8047945 w 9143999"/>
              <a:gd name="connsiteY75" fmla="*/ 256488 h 5144400"/>
              <a:gd name="connsiteX76" fmla="*/ 8029188 w 9143999"/>
              <a:gd name="connsiteY76" fmla="*/ 256488 h 5144400"/>
              <a:gd name="connsiteX77" fmla="*/ 8029188 w 9143999"/>
              <a:gd name="connsiteY77" fmla="*/ 400868 h 5144400"/>
              <a:gd name="connsiteX78" fmla="*/ 7938530 w 9143999"/>
              <a:gd name="connsiteY78" fmla="*/ 284136 h 5144400"/>
              <a:gd name="connsiteX79" fmla="*/ 7894764 w 9143999"/>
              <a:gd name="connsiteY79" fmla="*/ 256488 h 5144400"/>
              <a:gd name="connsiteX80" fmla="*/ 7866628 w 9143999"/>
              <a:gd name="connsiteY80" fmla="*/ 256488 h 5144400"/>
              <a:gd name="connsiteX81" fmla="*/ 8738166 w 9143999"/>
              <a:gd name="connsiteY81" fmla="*/ 237438 h 5144400"/>
              <a:gd name="connsiteX82" fmla="*/ 8738166 w 9143999"/>
              <a:gd name="connsiteY82" fmla="*/ 493025 h 5144400"/>
              <a:gd name="connsiteX83" fmla="*/ 8793729 w 9143999"/>
              <a:gd name="connsiteY83" fmla="*/ 493025 h 5144400"/>
              <a:gd name="connsiteX84" fmla="*/ 8793729 w 9143999"/>
              <a:gd name="connsiteY84" fmla="*/ 274390 h 5144400"/>
              <a:gd name="connsiteX85" fmla="*/ 8759774 w 9143999"/>
              <a:gd name="connsiteY85" fmla="*/ 237438 h 5144400"/>
              <a:gd name="connsiteX86" fmla="*/ 8738166 w 9143999"/>
              <a:gd name="connsiteY86" fmla="*/ 237438 h 5144400"/>
              <a:gd name="connsiteX87" fmla="*/ 8315891 w 9143999"/>
              <a:gd name="connsiteY87" fmla="*/ 237438 h 5144400"/>
              <a:gd name="connsiteX88" fmla="*/ 8315891 w 9143999"/>
              <a:gd name="connsiteY88" fmla="*/ 493025 h 5144400"/>
              <a:gd name="connsiteX89" fmla="*/ 8393965 w 9143999"/>
              <a:gd name="connsiteY89" fmla="*/ 493025 h 5144400"/>
              <a:gd name="connsiteX90" fmla="*/ 8506391 w 9143999"/>
              <a:gd name="connsiteY90" fmla="*/ 388327 h 5144400"/>
              <a:gd name="connsiteX91" fmla="*/ 8431440 w 9143999"/>
              <a:gd name="connsiteY91" fmla="*/ 308263 h 5144400"/>
              <a:gd name="connsiteX92" fmla="*/ 8381473 w 9143999"/>
              <a:gd name="connsiteY92" fmla="*/ 326740 h 5144400"/>
              <a:gd name="connsiteX93" fmla="*/ 8381473 w 9143999"/>
              <a:gd name="connsiteY93" fmla="*/ 274391 h 5144400"/>
              <a:gd name="connsiteX94" fmla="*/ 8340875 w 9143999"/>
              <a:gd name="connsiteY94" fmla="*/ 237438 h 5144400"/>
              <a:gd name="connsiteX95" fmla="*/ 8315891 w 9143999"/>
              <a:gd name="connsiteY95" fmla="*/ 237438 h 5144400"/>
              <a:gd name="connsiteX96" fmla="*/ 7268141 w 9143999"/>
              <a:gd name="connsiteY96" fmla="*/ 237438 h 5144400"/>
              <a:gd name="connsiteX97" fmla="*/ 7268141 w 9143999"/>
              <a:gd name="connsiteY97" fmla="*/ 493025 h 5144400"/>
              <a:gd name="connsiteX98" fmla="*/ 7333229 w 9143999"/>
              <a:gd name="connsiteY98" fmla="*/ 493025 h 5144400"/>
              <a:gd name="connsiteX99" fmla="*/ 7333229 w 9143999"/>
              <a:gd name="connsiteY99" fmla="*/ 420859 h 5144400"/>
              <a:gd name="connsiteX100" fmla="*/ 7333229 w 9143999"/>
              <a:gd name="connsiteY100" fmla="*/ 394758 h 5144400"/>
              <a:gd name="connsiteX101" fmla="*/ 7354980 w 9143999"/>
              <a:gd name="connsiteY101" fmla="*/ 433815 h 5144400"/>
              <a:gd name="connsiteX102" fmla="*/ 7370852 w 9143999"/>
              <a:gd name="connsiteY102" fmla="*/ 462317 h 5144400"/>
              <a:gd name="connsiteX103" fmla="*/ 7405341 w 9143999"/>
              <a:gd name="connsiteY103" fmla="*/ 493026 h 5144400"/>
              <a:gd name="connsiteX104" fmla="*/ 7458641 w 9143999"/>
              <a:gd name="connsiteY104" fmla="*/ 493026 h 5144400"/>
              <a:gd name="connsiteX105" fmla="*/ 7446100 w 9143999"/>
              <a:gd name="connsiteY105" fmla="*/ 477671 h 5144400"/>
              <a:gd name="connsiteX106" fmla="*/ 7395935 w 9143999"/>
              <a:gd name="connsiteY106" fmla="*/ 379402 h 5144400"/>
              <a:gd name="connsiteX107" fmla="*/ 7455506 w 9143999"/>
              <a:gd name="connsiteY107" fmla="*/ 305701 h 5144400"/>
              <a:gd name="connsiteX108" fmla="*/ 7402205 w 9143999"/>
              <a:gd name="connsiteY108" fmla="*/ 305701 h 5144400"/>
              <a:gd name="connsiteX109" fmla="*/ 7334306 w 9143999"/>
              <a:gd name="connsiteY109" fmla="*/ 393365 h 5144400"/>
              <a:gd name="connsiteX110" fmla="*/ 7333229 w 9143999"/>
              <a:gd name="connsiteY110" fmla="*/ 394755 h 5144400"/>
              <a:gd name="connsiteX111" fmla="*/ 7333229 w 9143999"/>
              <a:gd name="connsiteY111" fmla="*/ 366627 h 5144400"/>
              <a:gd name="connsiteX112" fmla="*/ 7333229 w 9143999"/>
              <a:gd name="connsiteY112" fmla="*/ 274391 h 5144400"/>
              <a:gd name="connsiteX113" fmla="*/ 7289837 w 9143999"/>
              <a:gd name="connsiteY113" fmla="*/ 237438 h 5144400"/>
              <a:gd name="connsiteX114" fmla="*/ 7268141 w 9143999"/>
              <a:gd name="connsiteY114" fmla="*/ 237438 h 5144400"/>
              <a:gd name="connsiteX115" fmla="*/ 8932543 w 9143999"/>
              <a:gd name="connsiteY115" fmla="*/ 0 h 5144400"/>
              <a:gd name="connsiteX116" fmla="*/ 9143999 w 9143999"/>
              <a:gd name="connsiteY116" fmla="*/ 0 h 5144400"/>
              <a:gd name="connsiteX117" fmla="*/ 9143999 w 9143999"/>
              <a:gd name="connsiteY117" fmla="*/ 5144400 h 5144400"/>
              <a:gd name="connsiteX118" fmla="*/ 9027314 w 9143999"/>
              <a:gd name="connsiteY118" fmla="*/ 5144400 h 5144400"/>
              <a:gd name="connsiteX119" fmla="*/ 9009627 w 9143999"/>
              <a:gd name="connsiteY119" fmla="*/ 5144400 h 5144400"/>
              <a:gd name="connsiteX120" fmla="*/ 8932543 w 9143999"/>
              <a:gd name="connsiteY120" fmla="*/ 5144400 h 5144400"/>
              <a:gd name="connsiteX121" fmla="*/ 8853155 w 9143999"/>
              <a:gd name="connsiteY121" fmla="*/ 5144400 h 5144400"/>
              <a:gd name="connsiteX122" fmla="*/ 0 w 9143999"/>
              <a:gd name="connsiteY122" fmla="*/ 5144400 h 5144400"/>
              <a:gd name="connsiteX123" fmla="*/ 0 w 9143999"/>
              <a:gd name="connsiteY123" fmla="*/ 902 h 5144400"/>
              <a:gd name="connsiteX124" fmla="*/ 8853155 w 9143999"/>
              <a:gd name="connsiteY124" fmla="*/ 902 h 5144400"/>
              <a:gd name="connsiteX125" fmla="*/ 8853155 w 9143999"/>
              <a:gd name="connsiteY125" fmla="*/ 900 h 5144400"/>
              <a:gd name="connsiteX126" fmla="*/ 8932543 w 9143999"/>
              <a:gd name="connsiteY126" fmla="*/ 90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143999" h="5144400">
                <a:moveTo>
                  <a:pt x="8398022" y="345388"/>
                </a:moveTo>
                <a:cubicBezTo>
                  <a:pt x="8419663" y="345388"/>
                  <a:pt x="8441303" y="367043"/>
                  <a:pt x="8441303" y="397979"/>
                </a:cubicBezTo>
                <a:cubicBezTo>
                  <a:pt x="8441303" y="441289"/>
                  <a:pt x="8422754" y="466038"/>
                  <a:pt x="8391839" y="466038"/>
                </a:cubicBezTo>
                <a:cubicBezTo>
                  <a:pt x="8382565" y="466038"/>
                  <a:pt x="8382565" y="466038"/>
                  <a:pt x="8382565" y="466038"/>
                </a:cubicBezTo>
                <a:cubicBezTo>
                  <a:pt x="8382565" y="348482"/>
                  <a:pt x="8382565" y="348482"/>
                  <a:pt x="8382565" y="348482"/>
                </a:cubicBezTo>
                <a:cubicBezTo>
                  <a:pt x="8385656" y="345388"/>
                  <a:pt x="8388748" y="345388"/>
                  <a:pt x="8398022" y="345388"/>
                </a:cubicBezTo>
                <a:close/>
                <a:moveTo>
                  <a:pt x="8194405" y="339038"/>
                </a:moveTo>
                <a:cubicBezTo>
                  <a:pt x="8212954" y="339038"/>
                  <a:pt x="8222228" y="366899"/>
                  <a:pt x="8222228" y="404046"/>
                </a:cubicBezTo>
                <a:cubicBezTo>
                  <a:pt x="8222228" y="441194"/>
                  <a:pt x="8212954" y="462863"/>
                  <a:pt x="8194405" y="462863"/>
                </a:cubicBezTo>
                <a:cubicBezTo>
                  <a:pt x="8172765" y="462863"/>
                  <a:pt x="8163490" y="438098"/>
                  <a:pt x="8163490" y="400951"/>
                </a:cubicBezTo>
                <a:cubicBezTo>
                  <a:pt x="8163490" y="363803"/>
                  <a:pt x="8172765" y="339038"/>
                  <a:pt x="8194405" y="339038"/>
                </a:cubicBezTo>
                <a:close/>
                <a:moveTo>
                  <a:pt x="7739627" y="339038"/>
                </a:moveTo>
                <a:cubicBezTo>
                  <a:pt x="7761852" y="339038"/>
                  <a:pt x="7768202" y="366899"/>
                  <a:pt x="7768202" y="404046"/>
                </a:cubicBezTo>
                <a:cubicBezTo>
                  <a:pt x="7768202" y="441194"/>
                  <a:pt x="7761852" y="462863"/>
                  <a:pt x="7739627" y="462863"/>
                </a:cubicBezTo>
                <a:cubicBezTo>
                  <a:pt x="7717402" y="462863"/>
                  <a:pt x="7711052" y="438098"/>
                  <a:pt x="7711052" y="400951"/>
                </a:cubicBezTo>
                <a:cubicBezTo>
                  <a:pt x="7711052" y="363803"/>
                  <a:pt x="7717402" y="339038"/>
                  <a:pt x="7739627" y="339038"/>
                </a:cubicBezTo>
                <a:close/>
                <a:moveTo>
                  <a:pt x="8619102" y="335863"/>
                </a:moveTo>
                <a:cubicBezTo>
                  <a:pt x="8644502" y="335863"/>
                  <a:pt x="8650852" y="378725"/>
                  <a:pt x="8650852" y="378725"/>
                </a:cubicBezTo>
                <a:cubicBezTo>
                  <a:pt x="8590527" y="378725"/>
                  <a:pt x="8590527" y="378725"/>
                  <a:pt x="8590527" y="378725"/>
                </a:cubicBezTo>
                <a:cubicBezTo>
                  <a:pt x="8590527" y="354233"/>
                  <a:pt x="8600052" y="335863"/>
                  <a:pt x="8619102" y="335863"/>
                </a:cubicBezTo>
                <a:close/>
                <a:moveTo>
                  <a:pt x="7121217" y="308875"/>
                </a:moveTo>
                <a:cubicBezTo>
                  <a:pt x="7149078" y="410475"/>
                  <a:pt x="7149078" y="410475"/>
                  <a:pt x="7149078" y="410475"/>
                </a:cubicBezTo>
                <a:cubicBezTo>
                  <a:pt x="7087165" y="410475"/>
                  <a:pt x="7087165" y="410475"/>
                  <a:pt x="7087165" y="410475"/>
                </a:cubicBezTo>
                <a:cubicBezTo>
                  <a:pt x="7121217" y="308875"/>
                  <a:pt x="7121217" y="308875"/>
                  <a:pt x="7121217" y="308875"/>
                </a:cubicBezTo>
                <a:close/>
                <a:moveTo>
                  <a:pt x="7471280" y="305701"/>
                </a:moveTo>
                <a:cubicBezTo>
                  <a:pt x="7471280" y="336410"/>
                  <a:pt x="7471280" y="336410"/>
                  <a:pt x="7471280" y="336410"/>
                </a:cubicBezTo>
                <a:cubicBezTo>
                  <a:pt x="7539787" y="336410"/>
                  <a:pt x="7539787" y="336410"/>
                  <a:pt x="7539787" y="336410"/>
                </a:cubicBezTo>
                <a:cubicBezTo>
                  <a:pt x="7474394" y="465388"/>
                  <a:pt x="7474394" y="465388"/>
                  <a:pt x="7474394" y="465388"/>
                </a:cubicBezTo>
                <a:cubicBezTo>
                  <a:pt x="7468166" y="477671"/>
                  <a:pt x="7468166" y="486884"/>
                  <a:pt x="7471280" y="493026"/>
                </a:cubicBezTo>
                <a:cubicBezTo>
                  <a:pt x="7608294" y="493026"/>
                  <a:pt x="7608294" y="493026"/>
                  <a:pt x="7608294" y="493026"/>
                </a:cubicBezTo>
                <a:cubicBezTo>
                  <a:pt x="7620749" y="493026"/>
                  <a:pt x="7630091" y="483813"/>
                  <a:pt x="7630091" y="471529"/>
                </a:cubicBezTo>
                <a:cubicBezTo>
                  <a:pt x="7630091" y="459246"/>
                  <a:pt x="7630091" y="459246"/>
                  <a:pt x="7630091" y="459246"/>
                </a:cubicBezTo>
                <a:cubicBezTo>
                  <a:pt x="7623863" y="462317"/>
                  <a:pt x="7614522" y="462317"/>
                  <a:pt x="7592724" y="462317"/>
                </a:cubicBezTo>
                <a:cubicBezTo>
                  <a:pt x="7549129" y="462317"/>
                  <a:pt x="7549129" y="462317"/>
                  <a:pt x="7549129" y="462317"/>
                </a:cubicBezTo>
                <a:cubicBezTo>
                  <a:pt x="7626977" y="305701"/>
                  <a:pt x="7626977" y="305701"/>
                  <a:pt x="7626977" y="305701"/>
                </a:cubicBezTo>
                <a:cubicBezTo>
                  <a:pt x="7471280" y="305701"/>
                  <a:pt x="7471280" y="305701"/>
                  <a:pt x="7471280" y="305701"/>
                </a:cubicBezTo>
                <a:close/>
                <a:moveTo>
                  <a:pt x="8622169" y="305700"/>
                </a:moveTo>
                <a:cubicBezTo>
                  <a:pt x="8566004" y="305700"/>
                  <a:pt x="8525441" y="342551"/>
                  <a:pt x="8525441" y="397827"/>
                </a:cubicBezTo>
                <a:cubicBezTo>
                  <a:pt x="8525441" y="453103"/>
                  <a:pt x="8562884" y="493025"/>
                  <a:pt x="8619049" y="493025"/>
                </a:cubicBezTo>
                <a:cubicBezTo>
                  <a:pt x="8675213" y="493025"/>
                  <a:pt x="8697055" y="462316"/>
                  <a:pt x="8697055" y="434678"/>
                </a:cubicBezTo>
                <a:cubicBezTo>
                  <a:pt x="8684574" y="443891"/>
                  <a:pt x="8665853" y="450033"/>
                  <a:pt x="8644011" y="450033"/>
                </a:cubicBezTo>
                <a:cubicBezTo>
                  <a:pt x="8612808" y="450033"/>
                  <a:pt x="8590966" y="431607"/>
                  <a:pt x="8590966" y="403969"/>
                </a:cubicBezTo>
                <a:cubicBezTo>
                  <a:pt x="8706416" y="403969"/>
                  <a:pt x="8706416" y="403969"/>
                  <a:pt x="8706416" y="403969"/>
                </a:cubicBezTo>
                <a:cubicBezTo>
                  <a:pt x="8706416" y="394756"/>
                  <a:pt x="8706416" y="388615"/>
                  <a:pt x="8706416" y="382473"/>
                </a:cubicBezTo>
                <a:cubicBezTo>
                  <a:pt x="8706416" y="339480"/>
                  <a:pt x="8675213" y="305700"/>
                  <a:pt x="8622169" y="305700"/>
                </a:cubicBezTo>
                <a:close/>
                <a:moveTo>
                  <a:pt x="8195215" y="305700"/>
                </a:moveTo>
                <a:cubicBezTo>
                  <a:pt x="8139002" y="305700"/>
                  <a:pt x="8098403" y="342551"/>
                  <a:pt x="8098403" y="403969"/>
                </a:cubicBezTo>
                <a:cubicBezTo>
                  <a:pt x="8098403" y="456174"/>
                  <a:pt x="8139002" y="493025"/>
                  <a:pt x="8192092" y="493025"/>
                </a:cubicBezTo>
                <a:cubicBezTo>
                  <a:pt x="8245182" y="493025"/>
                  <a:pt x="8288903" y="456174"/>
                  <a:pt x="8288903" y="394756"/>
                </a:cubicBezTo>
                <a:cubicBezTo>
                  <a:pt x="8288903" y="342551"/>
                  <a:pt x="8248305" y="305700"/>
                  <a:pt x="8195215" y="305700"/>
                </a:cubicBezTo>
                <a:close/>
                <a:moveTo>
                  <a:pt x="7739629" y="305700"/>
                </a:moveTo>
                <a:cubicBezTo>
                  <a:pt x="7686497" y="305700"/>
                  <a:pt x="7639616" y="342551"/>
                  <a:pt x="7639616" y="403969"/>
                </a:cubicBezTo>
                <a:cubicBezTo>
                  <a:pt x="7639616" y="456175"/>
                  <a:pt x="7686497" y="493025"/>
                  <a:pt x="7739629" y="493025"/>
                </a:cubicBezTo>
                <a:cubicBezTo>
                  <a:pt x="7792760" y="493025"/>
                  <a:pt x="7839641" y="456175"/>
                  <a:pt x="7839641" y="394757"/>
                </a:cubicBezTo>
                <a:cubicBezTo>
                  <a:pt x="7839641" y="342551"/>
                  <a:pt x="7795886" y="305700"/>
                  <a:pt x="7739629" y="305700"/>
                </a:cubicBezTo>
                <a:close/>
                <a:moveTo>
                  <a:pt x="7102867" y="256489"/>
                </a:moveTo>
                <a:cubicBezTo>
                  <a:pt x="7018903" y="493026"/>
                  <a:pt x="7018903" y="493026"/>
                  <a:pt x="7018903" y="493026"/>
                </a:cubicBezTo>
                <a:cubicBezTo>
                  <a:pt x="7056220" y="493026"/>
                  <a:pt x="7056220" y="493026"/>
                  <a:pt x="7056220" y="493026"/>
                </a:cubicBezTo>
                <a:cubicBezTo>
                  <a:pt x="7077989" y="434659"/>
                  <a:pt x="7077989" y="434659"/>
                  <a:pt x="7077989" y="434659"/>
                </a:cubicBezTo>
                <a:cubicBezTo>
                  <a:pt x="7158843" y="434659"/>
                  <a:pt x="7158843" y="434659"/>
                  <a:pt x="7158843" y="434659"/>
                </a:cubicBezTo>
                <a:cubicBezTo>
                  <a:pt x="7171282" y="471522"/>
                  <a:pt x="7171282" y="471522"/>
                  <a:pt x="7171282" y="471522"/>
                </a:cubicBezTo>
                <a:cubicBezTo>
                  <a:pt x="7177501" y="486882"/>
                  <a:pt x="7180611" y="493026"/>
                  <a:pt x="7196160" y="493026"/>
                </a:cubicBezTo>
                <a:cubicBezTo>
                  <a:pt x="7245916" y="493026"/>
                  <a:pt x="7245916" y="493026"/>
                  <a:pt x="7245916" y="493026"/>
                </a:cubicBezTo>
                <a:cubicBezTo>
                  <a:pt x="7245916" y="489954"/>
                  <a:pt x="7242806" y="486882"/>
                  <a:pt x="7239697" y="477666"/>
                </a:cubicBezTo>
                <a:cubicBezTo>
                  <a:pt x="7180611" y="290280"/>
                  <a:pt x="7180611" y="290280"/>
                  <a:pt x="7180611" y="290280"/>
                </a:cubicBezTo>
                <a:cubicBezTo>
                  <a:pt x="7171282" y="268776"/>
                  <a:pt x="7161953" y="256489"/>
                  <a:pt x="7133965" y="256489"/>
                </a:cubicBezTo>
                <a:cubicBezTo>
                  <a:pt x="7102867" y="256489"/>
                  <a:pt x="7102867" y="256489"/>
                  <a:pt x="7102867" y="256489"/>
                </a:cubicBezTo>
                <a:close/>
                <a:moveTo>
                  <a:pt x="7866628" y="256488"/>
                </a:moveTo>
                <a:cubicBezTo>
                  <a:pt x="7866628" y="493025"/>
                  <a:pt x="7866628" y="493025"/>
                  <a:pt x="7866628" y="493025"/>
                </a:cubicBezTo>
                <a:cubicBezTo>
                  <a:pt x="7907268" y="493025"/>
                  <a:pt x="7907268" y="493025"/>
                  <a:pt x="7907268" y="493025"/>
                </a:cubicBezTo>
                <a:cubicBezTo>
                  <a:pt x="7907268" y="345574"/>
                  <a:pt x="7907268" y="345574"/>
                  <a:pt x="7907268" y="345574"/>
                </a:cubicBezTo>
                <a:cubicBezTo>
                  <a:pt x="8004179" y="462306"/>
                  <a:pt x="8004179" y="462306"/>
                  <a:pt x="8004179" y="462306"/>
                </a:cubicBezTo>
                <a:cubicBezTo>
                  <a:pt x="8016684" y="480738"/>
                  <a:pt x="8026062" y="493025"/>
                  <a:pt x="8041693" y="493025"/>
                </a:cubicBezTo>
                <a:cubicBezTo>
                  <a:pt x="8069828" y="493025"/>
                  <a:pt x="8069828" y="493025"/>
                  <a:pt x="8069828" y="493025"/>
                </a:cubicBezTo>
                <a:cubicBezTo>
                  <a:pt x="8069828" y="277992"/>
                  <a:pt x="8069828" y="277992"/>
                  <a:pt x="8069828" y="277992"/>
                </a:cubicBezTo>
                <a:cubicBezTo>
                  <a:pt x="8069828" y="265704"/>
                  <a:pt x="8060450" y="256488"/>
                  <a:pt x="8047945" y="256488"/>
                </a:cubicBezTo>
                <a:cubicBezTo>
                  <a:pt x="8029188" y="256488"/>
                  <a:pt x="8029188" y="256488"/>
                  <a:pt x="8029188" y="256488"/>
                </a:cubicBezTo>
                <a:cubicBezTo>
                  <a:pt x="8029188" y="400868"/>
                  <a:pt x="8029188" y="400868"/>
                  <a:pt x="8029188" y="400868"/>
                </a:cubicBezTo>
                <a:cubicBezTo>
                  <a:pt x="7938530" y="284136"/>
                  <a:pt x="7938530" y="284136"/>
                  <a:pt x="7938530" y="284136"/>
                </a:cubicBezTo>
                <a:cubicBezTo>
                  <a:pt x="7922899" y="268776"/>
                  <a:pt x="7916647" y="256488"/>
                  <a:pt x="7894764" y="256488"/>
                </a:cubicBezTo>
                <a:cubicBezTo>
                  <a:pt x="7866628" y="256488"/>
                  <a:pt x="7866628" y="256488"/>
                  <a:pt x="7866628" y="256488"/>
                </a:cubicBezTo>
                <a:close/>
                <a:moveTo>
                  <a:pt x="8738166" y="237438"/>
                </a:moveTo>
                <a:cubicBezTo>
                  <a:pt x="8738166" y="493025"/>
                  <a:pt x="8738166" y="493025"/>
                  <a:pt x="8738166" y="493025"/>
                </a:cubicBezTo>
                <a:cubicBezTo>
                  <a:pt x="8793729" y="493025"/>
                  <a:pt x="8793729" y="493025"/>
                  <a:pt x="8793729" y="493025"/>
                </a:cubicBezTo>
                <a:cubicBezTo>
                  <a:pt x="8793729" y="274390"/>
                  <a:pt x="8793729" y="274390"/>
                  <a:pt x="8793729" y="274390"/>
                </a:cubicBezTo>
                <a:cubicBezTo>
                  <a:pt x="8793729" y="252835"/>
                  <a:pt x="8778295" y="237438"/>
                  <a:pt x="8759774" y="237438"/>
                </a:cubicBezTo>
                <a:cubicBezTo>
                  <a:pt x="8738166" y="237438"/>
                  <a:pt x="8738166" y="237438"/>
                  <a:pt x="8738166" y="237438"/>
                </a:cubicBezTo>
                <a:close/>
                <a:moveTo>
                  <a:pt x="8315891" y="237438"/>
                </a:moveTo>
                <a:cubicBezTo>
                  <a:pt x="8315891" y="493025"/>
                  <a:pt x="8315891" y="493025"/>
                  <a:pt x="8315891" y="493025"/>
                </a:cubicBezTo>
                <a:cubicBezTo>
                  <a:pt x="8393965" y="493025"/>
                  <a:pt x="8393965" y="493025"/>
                  <a:pt x="8393965" y="493025"/>
                </a:cubicBezTo>
                <a:cubicBezTo>
                  <a:pt x="8465793" y="493025"/>
                  <a:pt x="8506391" y="456073"/>
                  <a:pt x="8506391" y="388327"/>
                </a:cubicBezTo>
                <a:cubicBezTo>
                  <a:pt x="8506391" y="342136"/>
                  <a:pt x="8475161" y="308263"/>
                  <a:pt x="8431440" y="308263"/>
                </a:cubicBezTo>
                <a:cubicBezTo>
                  <a:pt x="8409580" y="308263"/>
                  <a:pt x="8390842" y="317502"/>
                  <a:pt x="8381473" y="326740"/>
                </a:cubicBezTo>
                <a:cubicBezTo>
                  <a:pt x="8381473" y="274391"/>
                  <a:pt x="8381473" y="274391"/>
                  <a:pt x="8381473" y="274391"/>
                </a:cubicBezTo>
                <a:cubicBezTo>
                  <a:pt x="8381473" y="252835"/>
                  <a:pt x="8362735" y="237438"/>
                  <a:pt x="8340875" y="237438"/>
                </a:cubicBezTo>
                <a:cubicBezTo>
                  <a:pt x="8315891" y="237438"/>
                  <a:pt x="8315891" y="237438"/>
                  <a:pt x="8315891" y="237438"/>
                </a:cubicBezTo>
                <a:close/>
                <a:moveTo>
                  <a:pt x="7268141" y="237438"/>
                </a:moveTo>
                <a:cubicBezTo>
                  <a:pt x="7268141" y="493025"/>
                  <a:pt x="7268141" y="493025"/>
                  <a:pt x="7268141" y="493025"/>
                </a:cubicBezTo>
                <a:cubicBezTo>
                  <a:pt x="7333229" y="493025"/>
                  <a:pt x="7333229" y="493025"/>
                  <a:pt x="7333229" y="493025"/>
                </a:cubicBezTo>
                <a:cubicBezTo>
                  <a:pt x="7333229" y="465696"/>
                  <a:pt x="7333229" y="441783"/>
                  <a:pt x="7333229" y="420859"/>
                </a:cubicBezTo>
                <a:lnTo>
                  <a:pt x="7333229" y="394758"/>
                </a:lnTo>
                <a:lnTo>
                  <a:pt x="7354980" y="433815"/>
                </a:lnTo>
                <a:cubicBezTo>
                  <a:pt x="7370852" y="462317"/>
                  <a:pt x="7370852" y="462317"/>
                  <a:pt x="7370852" y="462317"/>
                </a:cubicBezTo>
                <a:cubicBezTo>
                  <a:pt x="7380258" y="483813"/>
                  <a:pt x="7383393" y="493026"/>
                  <a:pt x="7405341" y="493026"/>
                </a:cubicBezTo>
                <a:cubicBezTo>
                  <a:pt x="7458641" y="493026"/>
                  <a:pt x="7458641" y="493026"/>
                  <a:pt x="7458641" y="493026"/>
                </a:cubicBezTo>
                <a:cubicBezTo>
                  <a:pt x="7455506" y="489955"/>
                  <a:pt x="7452371" y="486884"/>
                  <a:pt x="7446100" y="477671"/>
                </a:cubicBezTo>
                <a:cubicBezTo>
                  <a:pt x="7395935" y="379402"/>
                  <a:pt x="7395935" y="379402"/>
                  <a:pt x="7395935" y="379402"/>
                </a:cubicBezTo>
                <a:cubicBezTo>
                  <a:pt x="7455506" y="305701"/>
                  <a:pt x="7455506" y="305701"/>
                  <a:pt x="7455506" y="305701"/>
                </a:cubicBezTo>
                <a:cubicBezTo>
                  <a:pt x="7402205" y="305701"/>
                  <a:pt x="7402205" y="305701"/>
                  <a:pt x="7402205" y="305701"/>
                </a:cubicBezTo>
                <a:cubicBezTo>
                  <a:pt x="7350473" y="372493"/>
                  <a:pt x="7337539" y="389191"/>
                  <a:pt x="7334306" y="393365"/>
                </a:cubicBezTo>
                <a:lnTo>
                  <a:pt x="7333229" y="394755"/>
                </a:lnTo>
                <a:lnTo>
                  <a:pt x="7333229" y="366627"/>
                </a:lnTo>
                <a:cubicBezTo>
                  <a:pt x="7333229" y="274391"/>
                  <a:pt x="7333229" y="274391"/>
                  <a:pt x="7333229" y="274391"/>
                </a:cubicBezTo>
                <a:cubicBezTo>
                  <a:pt x="7333229" y="252835"/>
                  <a:pt x="7314633" y="237438"/>
                  <a:pt x="7289837" y="237438"/>
                </a:cubicBezTo>
                <a:cubicBezTo>
                  <a:pt x="7268141" y="237438"/>
                  <a:pt x="7268141" y="237438"/>
                  <a:pt x="7268141" y="237438"/>
                </a:cubicBezTo>
                <a:close/>
                <a:moveTo>
                  <a:pt x="8932543" y="0"/>
                </a:moveTo>
                <a:lnTo>
                  <a:pt x="9143999" y="0"/>
                </a:lnTo>
                <a:lnTo>
                  <a:pt x="9143999" y="5144400"/>
                </a:lnTo>
                <a:lnTo>
                  <a:pt x="9027314" y="5144400"/>
                </a:lnTo>
                <a:lnTo>
                  <a:pt x="9009627" y="5144400"/>
                </a:lnTo>
                <a:lnTo>
                  <a:pt x="8932543" y="5144400"/>
                </a:lnTo>
                <a:lnTo>
                  <a:pt x="8853155" y="5144400"/>
                </a:lnTo>
                <a:lnTo>
                  <a:pt x="0" y="5144400"/>
                </a:lnTo>
                <a:lnTo>
                  <a:pt x="0" y="902"/>
                </a:lnTo>
                <a:lnTo>
                  <a:pt x="8853155" y="902"/>
                </a:lnTo>
                <a:lnTo>
                  <a:pt x="8853155" y="900"/>
                </a:lnTo>
                <a:lnTo>
                  <a:pt x="8932543" y="900"/>
                </a:lnTo>
                <a:close/>
              </a:path>
            </a:pathLst>
          </a:custGeom>
          <a:solidFill>
            <a:srgbClr val="B9C9D0">
              <a:alpha val="50000"/>
            </a:srgbClr>
          </a:solidFill>
        </p:spPr>
        <p:txBody>
          <a:bodyPr wrap="square" bIns="720000" anchor="ctr" anchorCtr="0">
            <a:noAutofit/>
          </a:bodyPr>
          <a:lstStyle>
            <a:lvl1pPr algn="ctr">
              <a:defRPr sz="1200"/>
            </a:lvl1pPr>
          </a:lstStyle>
          <a:p>
            <a:r>
              <a:rPr lang="en-US" noProof="0"/>
              <a:t>Click icon to add picture</a:t>
            </a:r>
            <a:endParaRPr lang="en-US" noProof="0" dirty="0"/>
          </a:p>
        </p:txBody>
      </p:sp>
      <p:graphicFrame>
        <p:nvGraphicFramePr>
          <p:cNvPr id="24" name="Object 2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24" name="Object 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8" name="Group 27"/>
          <p:cNvGrpSpPr/>
          <p:nvPr/>
        </p:nvGrpSpPr>
        <p:grpSpPr bwMode="gray">
          <a:xfrm>
            <a:off x="9286875" y="182684"/>
            <a:ext cx="1581150" cy="3229876"/>
            <a:chOff x="9286875" y="182684"/>
            <a:chExt cx="1581150" cy="3229876"/>
          </a:xfrm>
        </p:grpSpPr>
        <p:sp>
          <p:nvSpPr>
            <p:cNvPr id="29" name="Rectangle 28"/>
            <p:cNvSpPr/>
            <p:nvPr/>
          </p:nvSpPr>
          <p:spPr bwMode="gray">
            <a:xfrm>
              <a:off x="9288779" y="182684"/>
              <a:ext cx="1579245"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dirty="0">
                  <a:solidFill>
                    <a:schemeClr val="tx1"/>
                  </a:solidFill>
                </a:rPr>
                <a:t>Crop picture</a:t>
              </a:r>
            </a:p>
            <a:p>
              <a:pPr algn="l"/>
              <a:r>
                <a:rPr lang="en-US" sz="900" b="0" dirty="0">
                  <a:solidFill>
                    <a:schemeClr val="tx1"/>
                  </a:solidFill>
                </a:rPr>
                <a:t>Select picture &gt; click</a:t>
              </a:r>
              <a:r>
                <a:rPr lang="en-US" sz="900" b="0" baseline="0" dirty="0">
                  <a:solidFill>
                    <a:schemeClr val="tx1"/>
                  </a:solidFill>
                </a:rPr>
                <a:t> on tab “Picture Tools &gt; Format”</a:t>
              </a:r>
              <a:endParaRPr lang="en-US" sz="900" b="0" dirty="0">
                <a:solidFill>
                  <a:schemeClr val="tx1"/>
                </a:solidFill>
              </a:endParaRPr>
            </a:p>
          </p:txBody>
        </p:sp>
        <p:sp>
          <p:nvSpPr>
            <p:cNvPr id="30" name="Rectangle 29"/>
            <p:cNvSpPr/>
            <p:nvPr/>
          </p:nvSpPr>
          <p:spPr bwMode="gray">
            <a:xfrm>
              <a:off x="9288780" y="1261435"/>
              <a:ext cx="1579244" cy="1662924"/>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dirty="0">
                  <a:solidFill>
                    <a:schemeClr val="tx1"/>
                  </a:solidFill>
                </a:rPr>
                <a:t>Click</a:t>
              </a:r>
              <a:r>
                <a:rPr lang="en-US" sz="900" b="0" baseline="0" dirty="0">
                  <a:solidFill>
                    <a:schemeClr val="tx1"/>
                  </a:solidFill>
                </a:rPr>
                <a:t> on the icon </a:t>
              </a:r>
              <a:br>
                <a:rPr lang="en-US" sz="900" b="0" baseline="0" dirty="0">
                  <a:solidFill>
                    <a:schemeClr val="tx1"/>
                  </a:solidFill>
                </a:rPr>
              </a:br>
              <a:r>
                <a:rPr lang="en-US" sz="900" b="0" baseline="0" dirty="0">
                  <a:solidFill>
                    <a:schemeClr val="tx1"/>
                  </a:solidFill>
                </a:rPr>
                <a:t>above “Crop”</a:t>
              </a:r>
            </a:p>
            <a:p>
              <a:pPr algn="l"/>
              <a:endParaRPr lang="en-US" sz="900" b="0" baseline="0" dirty="0">
                <a:solidFill>
                  <a:schemeClr val="tx1"/>
                </a:solidFill>
              </a:endParaRPr>
            </a:p>
            <a:p>
              <a:pPr algn="l"/>
              <a:r>
                <a:rPr lang="en-US" sz="900" b="0" baseline="0" dirty="0">
                  <a:solidFill>
                    <a:schemeClr val="tx1"/>
                  </a:solidFill>
                </a:rPr>
                <a:t>You will see crop and scale markers on the corners</a:t>
              </a:r>
              <a:endParaRPr lang="en-US" sz="900" b="0" dirty="0">
                <a:solidFill>
                  <a:schemeClr val="tx1"/>
                </a:solidFill>
              </a:endParaRPr>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35" name="Picture 34"/>
            <p:cNvPicPr>
              <a:picLocks noChangeAspect="1"/>
            </p:cNvPicPr>
            <p:nvPr/>
          </p:nvPicPr>
          <p:blipFill rotWithShape="1">
            <a:blip r:embed="rId7">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36" name="Picture 35"/>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37" name="Picture 36"/>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38" name="Rectangle 37"/>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39" name="Rectangle 38"/>
            <p:cNvSpPr/>
            <p:nvPr/>
          </p:nvSpPr>
          <p:spPr bwMode="gray">
            <a:xfrm>
              <a:off x="9288780" y="2924359"/>
              <a:ext cx="1579244"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dirty="0">
                  <a:solidFill>
                    <a:schemeClr val="tx1"/>
                  </a:solidFill>
                </a:rPr>
                <a:t>Use the “circular scale icon” to scale your picture within the cropped region.</a:t>
              </a:r>
            </a:p>
          </p:txBody>
        </p:sp>
        <p:cxnSp>
          <p:nvCxnSpPr>
            <p:cNvPr id="40" name="Straight Arrow Connector 39"/>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1" idx="0"/>
              <a:endCxn id="31" idx="2"/>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31" idx="3"/>
              <a:endCxn id="31" idx="1"/>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Oval 63"/>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sp>
        <p:nvSpPr>
          <p:cNvPr id="52" name="Text Placeholder 30"/>
          <p:cNvSpPr>
            <a:spLocks noGrp="1"/>
          </p:cNvSpPr>
          <p:nvPr>
            <p:ph type="body" sz="quarter" idx="14" hasCustomPrompt="1"/>
          </p:nvPr>
        </p:nvSpPr>
        <p:spPr bwMode="gray">
          <a:xfrm>
            <a:off x="352424" y="2353816"/>
            <a:ext cx="1629285" cy="1629285"/>
          </a:xfrm>
          <a:prstGeom prst="snip2DiagRect">
            <a:avLst>
              <a:gd name="adj1" fmla="val 15395"/>
              <a:gd name="adj2" fmla="val 0"/>
            </a:avLst>
          </a:prstGeom>
          <a:solidFill>
            <a:schemeClr val="bg1">
              <a:alpha val="90000"/>
            </a:schemeClr>
          </a:solidFill>
        </p:spPr>
        <p:txBody>
          <a:bodyPr lIns="90000" tIns="36000" rIns="0" bIns="576000"/>
          <a:lstStyle>
            <a:lvl1pPr algn="l">
              <a:lnSpc>
                <a:spcPct val="80000"/>
              </a:lnSpc>
              <a:spcBef>
                <a:spcPts val="0"/>
              </a:spcBef>
              <a:spcAft>
                <a:spcPts val="0"/>
              </a:spcAft>
              <a:defRPr sz="1400" b="1">
                <a:solidFill>
                  <a:schemeClr val="accent1"/>
                </a:solidFill>
              </a:defRPr>
            </a:lvl1pPr>
            <a:lvl2pPr marL="0" indent="0" algn="l">
              <a:lnSpc>
                <a:spcPct val="100000"/>
              </a:lnSpc>
              <a:spcBef>
                <a:spcPts val="0"/>
              </a:spcBef>
              <a:spcAft>
                <a:spcPts val="0"/>
              </a:spcAft>
              <a:buFontTx/>
              <a:buNone/>
              <a:defRPr sz="1400">
                <a:solidFill>
                  <a:schemeClr val="accent1"/>
                </a:solidFill>
              </a:defRPr>
            </a:lvl2pPr>
            <a:lvl3pPr marL="0" algn="l">
              <a:lnSpc>
                <a:spcPct val="100000"/>
              </a:lnSpc>
              <a:spcBef>
                <a:spcPts val="0"/>
              </a:spcBef>
              <a:spcAft>
                <a:spcPts val="0"/>
              </a:spcAft>
              <a:defRPr sz="1400">
                <a:solidFill>
                  <a:schemeClr val="accent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dirty="0"/>
              <a:t>Item 1</a:t>
            </a:r>
          </a:p>
          <a:p>
            <a:pPr lvl="1"/>
            <a:r>
              <a:rPr lang="en-US" dirty="0"/>
              <a:t>Lorem ipsum</a:t>
            </a:r>
          </a:p>
          <a:p>
            <a:pPr lvl="2"/>
            <a:r>
              <a:rPr lang="en-US" dirty="0"/>
              <a:t>Dolor sit </a:t>
            </a:r>
            <a:r>
              <a:rPr lang="en-US" dirty="0" err="1"/>
              <a:t>amet</a:t>
            </a:r>
            <a:endParaRPr lang="en-US" dirty="0"/>
          </a:p>
        </p:txBody>
      </p:sp>
      <p:sp>
        <p:nvSpPr>
          <p:cNvPr id="53" name="Text Placeholder 30"/>
          <p:cNvSpPr>
            <a:spLocks noGrp="1"/>
          </p:cNvSpPr>
          <p:nvPr>
            <p:ph type="body" sz="quarter" idx="18" hasCustomPrompt="1"/>
          </p:nvPr>
        </p:nvSpPr>
        <p:spPr bwMode="gray">
          <a:xfrm>
            <a:off x="2623593" y="2353816"/>
            <a:ext cx="1629285" cy="1629285"/>
          </a:xfrm>
          <a:prstGeom prst="snip2DiagRect">
            <a:avLst>
              <a:gd name="adj1" fmla="val 15590"/>
              <a:gd name="adj2" fmla="val 0"/>
            </a:avLst>
          </a:prstGeom>
          <a:solidFill>
            <a:schemeClr val="bg1">
              <a:alpha val="90000"/>
            </a:schemeClr>
          </a:solidFill>
        </p:spPr>
        <p:txBody>
          <a:bodyPr lIns="90000" tIns="36000" rIns="0" bIns="576000"/>
          <a:lstStyle>
            <a:lvl1pPr algn="l">
              <a:lnSpc>
                <a:spcPct val="80000"/>
              </a:lnSpc>
              <a:spcBef>
                <a:spcPts val="0"/>
              </a:spcBef>
              <a:spcAft>
                <a:spcPts val="0"/>
              </a:spcAft>
              <a:defRPr sz="1400" b="1">
                <a:solidFill>
                  <a:schemeClr val="accent1"/>
                </a:solidFill>
              </a:defRPr>
            </a:lvl1pPr>
            <a:lvl2pPr marL="0" indent="0" algn="l">
              <a:lnSpc>
                <a:spcPct val="100000"/>
              </a:lnSpc>
              <a:spcBef>
                <a:spcPts val="0"/>
              </a:spcBef>
              <a:spcAft>
                <a:spcPts val="0"/>
              </a:spcAft>
              <a:buFontTx/>
              <a:buNone/>
              <a:defRPr sz="1400">
                <a:solidFill>
                  <a:schemeClr val="accent1"/>
                </a:solidFill>
              </a:defRPr>
            </a:lvl2pPr>
            <a:lvl3pPr marL="0" algn="l">
              <a:lnSpc>
                <a:spcPct val="100000"/>
              </a:lnSpc>
              <a:spcBef>
                <a:spcPts val="0"/>
              </a:spcBef>
              <a:spcAft>
                <a:spcPts val="0"/>
              </a:spcAft>
              <a:defRPr sz="1400">
                <a:solidFill>
                  <a:schemeClr val="accent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dirty="0"/>
              <a:t>Item 2</a:t>
            </a:r>
          </a:p>
          <a:p>
            <a:pPr lvl="1"/>
            <a:r>
              <a:rPr lang="en-US" dirty="0"/>
              <a:t>Lorem ipsum</a:t>
            </a:r>
          </a:p>
          <a:p>
            <a:pPr lvl="2"/>
            <a:r>
              <a:rPr lang="en-US" dirty="0"/>
              <a:t>Dolor sit </a:t>
            </a:r>
            <a:r>
              <a:rPr lang="en-US" dirty="0" err="1"/>
              <a:t>amet</a:t>
            </a:r>
            <a:endParaRPr lang="en-US" dirty="0"/>
          </a:p>
        </p:txBody>
      </p:sp>
      <p:sp>
        <p:nvSpPr>
          <p:cNvPr id="55" name="Text Placeholder 30"/>
          <p:cNvSpPr>
            <a:spLocks noGrp="1"/>
          </p:cNvSpPr>
          <p:nvPr>
            <p:ph type="body" sz="quarter" idx="19" hasCustomPrompt="1"/>
          </p:nvPr>
        </p:nvSpPr>
        <p:spPr bwMode="gray">
          <a:xfrm>
            <a:off x="4894762" y="2353816"/>
            <a:ext cx="1629285" cy="1629285"/>
          </a:xfrm>
          <a:prstGeom prst="snip2DiagRect">
            <a:avLst>
              <a:gd name="adj1" fmla="val 15395"/>
              <a:gd name="adj2" fmla="val 0"/>
            </a:avLst>
          </a:prstGeom>
          <a:solidFill>
            <a:schemeClr val="bg1">
              <a:alpha val="90000"/>
            </a:schemeClr>
          </a:solidFill>
        </p:spPr>
        <p:txBody>
          <a:bodyPr lIns="90000" tIns="36000" rIns="0" bIns="576000"/>
          <a:lstStyle>
            <a:lvl1pPr algn="l">
              <a:lnSpc>
                <a:spcPct val="80000"/>
              </a:lnSpc>
              <a:spcBef>
                <a:spcPts val="0"/>
              </a:spcBef>
              <a:spcAft>
                <a:spcPts val="0"/>
              </a:spcAft>
              <a:defRPr sz="1400" b="1">
                <a:solidFill>
                  <a:schemeClr val="accent1"/>
                </a:solidFill>
              </a:defRPr>
            </a:lvl1pPr>
            <a:lvl2pPr marL="0" indent="0" algn="l">
              <a:lnSpc>
                <a:spcPct val="100000"/>
              </a:lnSpc>
              <a:spcBef>
                <a:spcPts val="0"/>
              </a:spcBef>
              <a:spcAft>
                <a:spcPts val="0"/>
              </a:spcAft>
              <a:buFontTx/>
              <a:buNone/>
              <a:defRPr sz="1400">
                <a:solidFill>
                  <a:schemeClr val="accent1"/>
                </a:solidFill>
              </a:defRPr>
            </a:lvl2pPr>
            <a:lvl3pPr marL="0" algn="l">
              <a:lnSpc>
                <a:spcPct val="100000"/>
              </a:lnSpc>
              <a:spcBef>
                <a:spcPts val="0"/>
              </a:spcBef>
              <a:spcAft>
                <a:spcPts val="0"/>
              </a:spcAft>
              <a:defRPr sz="1400">
                <a:solidFill>
                  <a:schemeClr val="accent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dirty="0"/>
              <a:t>Item 3</a:t>
            </a:r>
          </a:p>
          <a:p>
            <a:pPr lvl="1"/>
            <a:r>
              <a:rPr lang="en-US" dirty="0"/>
              <a:t>Lorem ipsum</a:t>
            </a:r>
          </a:p>
          <a:p>
            <a:pPr lvl="2"/>
            <a:r>
              <a:rPr lang="en-US" dirty="0"/>
              <a:t>Dolor sit </a:t>
            </a:r>
            <a:r>
              <a:rPr lang="en-US" dirty="0" err="1"/>
              <a:t>amet</a:t>
            </a:r>
            <a:endParaRPr lang="en-US" dirty="0"/>
          </a:p>
        </p:txBody>
      </p:sp>
      <p:sp>
        <p:nvSpPr>
          <p:cNvPr id="56" name="Text Placeholder 30"/>
          <p:cNvSpPr>
            <a:spLocks noGrp="1"/>
          </p:cNvSpPr>
          <p:nvPr>
            <p:ph type="body" sz="quarter" idx="20" hasCustomPrompt="1"/>
          </p:nvPr>
        </p:nvSpPr>
        <p:spPr bwMode="gray">
          <a:xfrm>
            <a:off x="7165932" y="2353816"/>
            <a:ext cx="1629285" cy="1629285"/>
          </a:xfrm>
          <a:prstGeom prst="snip2DiagRect">
            <a:avLst>
              <a:gd name="adj1" fmla="val 15395"/>
              <a:gd name="adj2" fmla="val 0"/>
            </a:avLst>
          </a:prstGeom>
          <a:solidFill>
            <a:schemeClr val="bg1">
              <a:alpha val="90000"/>
            </a:schemeClr>
          </a:solidFill>
        </p:spPr>
        <p:txBody>
          <a:bodyPr lIns="90000" tIns="36000" rIns="0" bIns="576000"/>
          <a:lstStyle>
            <a:lvl1pPr algn="l">
              <a:lnSpc>
                <a:spcPct val="80000"/>
              </a:lnSpc>
              <a:spcBef>
                <a:spcPts val="0"/>
              </a:spcBef>
              <a:spcAft>
                <a:spcPts val="0"/>
              </a:spcAft>
              <a:defRPr sz="1400" b="1" baseline="0">
                <a:solidFill>
                  <a:schemeClr val="accent1"/>
                </a:solidFill>
              </a:defRPr>
            </a:lvl1pPr>
            <a:lvl2pPr marL="0" indent="0" algn="l">
              <a:lnSpc>
                <a:spcPct val="100000"/>
              </a:lnSpc>
              <a:spcBef>
                <a:spcPts val="0"/>
              </a:spcBef>
              <a:spcAft>
                <a:spcPts val="0"/>
              </a:spcAft>
              <a:buFontTx/>
              <a:buNone/>
              <a:defRPr sz="1400" baseline="0">
                <a:solidFill>
                  <a:schemeClr val="accent1"/>
                </a:solidFill>
              </a:defRPr>
            </a:lvl2pPr>
            <a:lvl3pPr marL="0" algn="l">
              <a:lnSpc>
                <a:spcPct val="100000"/>
              </a:lnSpc>
              <a:spcBef>
                <a:spcPts val="0"/>
              </a:spcBef>
              <a:spcAft>
                <a:spcPts val="0"/>
              </a:spcAft>
              <a:defRPr sz="1400">
                <a:solidFill>
                  <a:schemeClr val="accent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dirty="0"/>
              <a:t>Item 4</a:t>
            </a:r>
          </a:p>
          <a:p>
            <a:pPr lvl="1"/>
            <a:r>
              <a:rPr lang="en-US" dirty="0"/>
              <a:t>Lorem ipsum</a:t>
            </a:r>
          </a:p>
          <a:p>
            <a:pPr lvl="2"/>
            <a:r>
              <a:rPr lang="en-US" dirty="0"/>
              <a:t>Dolor sit </a:t>
            </a:r>
            <a:r>
              <a:rPr lang="en-US" dirty="0" err="1"/>
              <a:t>amet</a:t>
            </a:r>
            <a:endParaRPr lang="en-US" dirty="0"/>
          </a:p>
        </p:txBody>
      </p:sp>
      <p:sp>
        <p:nvSpPr>
          <p:cNvPr id="57" name="Picture Placeholder 13"/>
          <p:cNvSpPr>
            <a:spLocks noGrp="1"/>
          </p:cNvSpPr>
          <p:nvPr>
            <p:ph type="pic" sz="quarter" idx="23" hasCustomPrompt="1"/>
          </p:nvPr>
        </p:nvSpPr>
        <p:spPr bwMode="gray">
          <a:xfrm>
            <a:off x="352424" y="3443101"/>
            <a:ext cx="540000" cy="540000"/>
          </a:xfrm>
          <a:prstGeom prst="rect">
            <a:avLst/>
          </a:prstGeom>
          <a:noFill/>
        </p:spPr>
        <p:txBody>
          <a:bodyPr wrap="square" anchor="ctr" anchorCtr="0">
            <a:noAutofit/>
          </a:bodyPr>
          <a:lstStyle>
            <a:lvl1pPr algn="ctr">
              <a:defRPr sz="800" b="0">
                <a:solidFill>
                  <a:schemeClr val="tx1"/>
                </a:solidFill>
              </a:defRPr>
            </a:lvl1pPr>
          </a:lstStyle>
          <a:p>
            <a:r>
              <a:rPr lang="nl-NL" dirty="0"/>
              <a:t>Icon</a:t>
            </a:r>
            <a:endParaRPr lang="en-GB" dirty="0"/>
          </a:p>
        </p:txBody>
      </p:sp>
      <p:sp>
        <p:nvSpPr>
          <p:cNvPr id="58" name="Picture Placeholder 13"/>
          <p:cNvSpPr>
            <a:spLocks noGrp="1"/>
          </p:cNvSpPr>
          <p:nvPr>
            <p:ph type="pic" sz="quarter" idx="24" hasCustomPrompt="1"/>
          </p:nvPr>
        </p:nvSpPr>
        <p:spPr bwMode="gray">
          <a:xfrm>
            <a:off x="2623593" y="3443101"/>
            <a:ext cx="540000" cy="540000"/>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59" name="Picture Placeholder 13"/>
          <p:cNvSpPr>
            <a:spLocks noGrp="1"/>
          </p:cNvSpPr>
          <p:nvPr>
            <p:ph type="pic" sz="quarter" idx="25" hasCustomPrompt="1"/>
          </p:nvPr>
        </p:nvSpPr>
        <p:spPr bwMode="gray">
          <a:xfrm>
            <a:off x="4894762" y="3443101"/>
            <a:ext cx="540000" cy="540000"/>
          </a:xfrm>
          <a:prstGeom prst="rect">
            <a:avLst/>
          </a:prstGeom>
          <a:noFill/>
        </p:spPr>
        <p:txBody>
          <a:bodyPr wrap="square" anchor="ctr" anchorCtr="0">
            <a:noAutofit/>
          </a:bodyPr>
          <a:lstStyle>
            <a:lvl1pPr algn="ctr">
              <a:defRPr sz="800" b="0">
                <a:solidFill>
                  <a:schemeClr val="tx1"/>
                </a:solidFill>
              </a:defRPr>
            </a:lvl1pPr>
          </a:lstStyle>
          <a:p>
            <a:r>
              <a:rPr lang="nl-NL" dirty="0"/>
              <a:t>Icon</a:t>
            </a:r>
            <a:endParaRPr lang="en-GB" dirty="0"/>
          </a:p>
        </p:txBody>
      </p:sp>
      <p:sp>
        <p:nvSpPr>
          <p:cNvPr id="60" name="Picture Placeholder 13"/>
          <p:cNvSpPr>
            <a:spLocks noGrp="1"/>
          </p:cNvSpPr>
          <p:nvPr>
            <p:ph type="pic" sz="quarter" idx="26" hasCustomPrompt="1"/>
          </p:nvPr>
        </p:nvSpPr>
        <p:spPr bwMode="gray">
          <a:xfrm>
            <a:off x="7165932" y="3443101"/>
            <a:ext cx="540000" cy="540000"/>
          </a:xfrm>
          <a:prstGeom prst="rect">
            <a:avLst/>
          </a:prstGeom>
          <a:noFill/>
        </p:spPr>
        <p:txBody>
          <a:bodyPr wrap="square" anchor="ctr" anchorCtr="0">
            <a:noAutofit/>
          </a:bodyPr>
          <a:lstStyle>
            <a:lvl1pPr algn="ctr">
              <a:defRPr sz="800" b="0">
                <a:solidFill>
                  <a:schemeClr val="tx1"/>
                </a:solidFill>
              </a:defRPr>
            </a:lvl1pPr>
          </a:lstStyle>
          <a:p>
            <a:r>
              <a:rPr lang="nl-NL" dirty="0"/>
              <a:t>Icon</a:t>
            </a:r>
            <a:endParaRPr lang="en-GB" dirty="0"/>
          </a:p>
        </p:txBody>
      </p:sp>
      <p:sp>
        <p:nvSpPr>
          <p:cNvPr id="62" name="Text Placeholder 61"/>
          <p:cNvSpPr>
            <a:spLocks noGrp="1"/>
          </p:cNvSpPr>
          <p:nvPr>
            <p:ph type="body" sz="quarter" idx="28" hasCustomPrompt="1"/>
          </p:nvPr>
        </p:nvSpPr>
        <p:spPr bwMode="gray">
          <a:xfrm>
            <a:off x="0" y="-221258"/>
            <a:ext cx="36000" cy="36000"/>
          </a:xfrm>
          <a:custGeom>
            <a:avLst/>
            <a:gdLst>
              <a:gd name="connsiteX0" fmla="*/ 89445 w 360383"/>
              <a:gd name="connsiteY0" fmla="*/ 0 h 360000"/>
              <a:gd name="connsiteX1" fmla="*/ 360383 w 360383"/>
              <a:gd name="connsiteY1" fmla="*/ 0 h 360000"/>
              <a:gd name="connsiteX2" fmla="*/ 360383 w 360383"/>
              <a:gd name="connsiteY2" fmla="*/ 270162 h 360000"/>
              <a:gd name="connsiteX3" fmla="*/ 270938 w 360383"/>
              <a:gd name="connsiteY3" fmla="*/ 360000 h 360000"/>
              <a:gd name="connsiteX4" fmla="*/ 270938 w 360383"/>
              <a:gd name="connsiteY4" fmla="*/ 89189 h 360000"/>
              <a:gd name="connsiteX5" fmla="*/ 0 w 360383"/>
              <a:gd name="connsiteY5" fmla="*/ 89189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383" h="360000">
                <a:moveTo>
                  <a:pt x="89445" y="0"/>
                </a:moveTo>
                <a:lnTo>
                  <a:pt x="360383" y="0"/>
                </a:lnTo>
                <a:lnTo>
                  <a:pt x="360383" y="270162"/>
                </a:lnTo>
                <a:lnTo>
                  <a:pt x="270938" y="360000"/>
                </a:lnTo>
                <a:lnTo>
                  <a:pt x="270938" y="89189"/>
                </a:lnTo>
                <a:lnTo>
                  <a:pt x="0" y="89189"/>
                </a:lnTo>
                <a:close/>
              </a:path>
            </a:pathLst>
          </a:custGeom>
          <a:noFill/>
        </p:spPr>
        <p:txBody>
          <a:bodyPr wrap="square">
            <a:noAutofit/>
          </a:bodyPr>
          <a:lstStyle>
            <a:lvl1pPr>
              <a:defRPr/>
            </a:lvl1pPr>
          </a:lstStyle>
          <a:p>
            <a:pPr lvl="0"/>
            <a:r>
              <a:rPr lang="en-US"/>
              <a:t>  </a:t>
            </a:r>
            <a:endParaRPr lang="en-GB"/>
          </a:p>
        </p:txBody>
      </p:sp>
      <p:sp>
        <p:nvSpPr>
          <p:cNvPr id="4" name="Title 3"/>
          <p:cNvSpPr>
            <a:spLocks noGrp="1"/>
          </p:cNvSpPr>
          <p:nvPr>
            <p:ph type="title" hasCustomPrompt="1"/>
          </p:nvPr>
        </p:nvSpPr>
        <p:spPr bwMode="gray">
          <a:xfrm>
            <a:off x="352424" y="252000"/>
            <a:ext cx="4428000" cy="895662"/>
          </a:xfrm>
          <a:solidFill>
            <a:schemeClr val="bg1">
              <a:alpha val="90000"/>
            </a:schemeClr>
          </a:solidFill>
        </p:spPr>
        <p:txBody>
          <a:bodyPr wrap="square" lIns="100800" tIns="126000" rIns="100800" bIns="126000" anchor="t" anchorCtr="0">
            <a:noAutofit/>
          </a:bodyPr>
          <a:lstStyle>
            <a:lvl1pPr>
              <a:defRPr>
                <a:solidFill>
                  <a:schemeClr val="accent1"/>
                </a:solidFill>
              </a:defRPr>
            </a:lvl1pPr>
          </a:lstStyle>
          <a:p>
            <a:r>
              <a:rPr lang="en-US" dirty="0"/>
              <a:t>Click to edit Master title style </a:t>
            </a:r>
            <a:endParaRPr lang="nl-NL" dirty="0"/>
          </a:p>
        </p:txBody>
      </p:sp>
    </p:spTree>
    <p:extLst>
      <p:ext uri="{BB962C8B-B14F-4D97-AF65-F5344CB8AC3E}">
        <p14:creationId xmlns:p14="http://schemas.microsoft.com/office/powerpoint/2010/main" val="23663646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bwMode="gray">
      <p:bgPr>
        <a:solidFill>
          <a:srgbClr val="D9D9D9"/>
        </a:solidFill>
        <a:effectLst/>
      </p:bgPr>
    </p:bg>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C4080AD4-1248-42BF-B117-FF7BD2095101}"/>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39" name="Picture Placeholder 38">
            <a:extLst>
              <a:ext uri="{FF2B5EF4-FFF2-40B4-BE49-F238E27FC236}">
                <a16:creationId xmlns:a16="http://schemas.microsoft.com/office/drawing/2014/main" id="{466851DF-CDE1-45E4-B481-6864BF0B46FD}"/>
              </a:ext>
            </a:extLst>
          </p:cNvPr>
          <p:cNvSpPr>
            <a:spLocks noGrp="1"/>
          </p:cNvSpPr>
          <p:nvPr>
            <p:ph type="pic" sz="quarter" idx="10"/>
          </p:nvPr>
        </p:nvSpPr>
        <p:spPr bwMode="gray">
          <a:xfrm>
            <a:off x="0" y="0"/>
            <a:ext cx="9144000" cy="5143500"/>
          </a:xfrm>
          <a:custGeom>
            <a:avLst/>
            <a:gdLst>
              <a:gd name="connsiteX0" fmla="*/ 0 w 9144000"/>
              <a:gd name="connsiteY0" fmla="*/ 0 h 5143500"/>
              <a:gd name="connsiteX1" fmla="*/ 5138383 w 9144000"/>
              <a:gd name="connsiteY1" fmla="*/ 0 h 5143500"/>
              <a:gd name="connsiteX2" fmla="*/ 9144000 w 9144000"/>
              <a:gd name="connsiteY2" fmla="*/ 4005615 h 5143500"/>
              <a:gd name="connsiteX3" fmla="*/ 9144000 w 9144000"/>
              <a:gd name="connsiteY3" fmla="*/ 5143500 h 5143500"/>
              <a:gd name="connsiteX4" fmla="*/ 0 w 9144000"/>
              <a:gd name="connsiteY4" fmla="*/ 514350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5143500">
                <a:moveTo>
                  <a:pt x="0" y="0"/>
                </a:moveTo>
                <a:lnTo>
                  <a:pt x="5138383" y="0"/>
                </a:lnTo>
                <a:lnTo>
                  <a:pt x="9144000" y="4005615"/>
                </a:lnTo>
                <a:lnTo>
                  <a:pt x="9144000" y="5143500"/>
                </a:lnTo>
                <a:lnTo>
                  <a:pt x="0" y="5143500"/>
                </a:lnTo>
                <a:close/>
              </a:path>
            </a:pathLst>
          </a:custGeom>
        </p:spPr>
        <p:txBody>
          <a:bodyPr wrap="square" anchor="ctr" anchorCtr="0">
            <a:noAutofit/>
          </a:bodyPr>
          <a:lstStyle>
            <a:lvl1pPr algn="ctr">
              <a:defRPr/>
            </a:lvl1pPr>
          </a:lstStyle>
          <a:p>
            <a:r>
              <a:rPr lang="en-US"/>
              <a:t>Click icon to add picture</a:t>
            </a:r>
          </a:p>
        </p:txBody>
      </p:sp>
      <p:sp>
        <p:nvSpPr>
          <p:cNvPr id="40" name="Right Triangle 39">
            <a:extLst>
              <a:ext uri="{FF2B5EF4-FFF2-40B4-BE49-F238E27FC236}">
                <a16:creationId xmlns:a16="http://schemas.microsoft.com/office/drawing/2014/main" id="{C4D88B44-6923-4A8C-9C25-9A25EAE0D72E}"/>
              </a:ext>
            </a:extLst>
          </p:cNvPr>
          <p:cNvSpPr/>
          <p:nvPr userDrawn="1"/>
        </p:nvSpPr>
        <p:spPr>
          <a:xfrm flipH="1" flipV="1">
            <a:off x="5138382" y="-1"/>
            <a:ext cx="4005618" cy="4005616"/>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dirty="0" err="1"/>
          </a:p>
        </p:txBody>
      </p:sp>
      <p:sp>
        <p:nvSpPr>
          <p:cNvPr id="2" name="Title 1"/>
          <p:cNvSpPr>
            <a:spLocks noGrp="1"/>
          </p:cNvSpPr>
          <p:nvPr>
            <p:ph type="ctrTitle" hasCustomPrompt="1"/>
          </p:nvPr>
        </p:nvSpPr>
        <p:spPr bwMode="gray">
          <a:xfrm>
            <a:off x="359999" y="3062010"/>
            <a:ext cx="4672800" cy="1620000"/>
          </a:xfrm>
          <a:prstGeom prst="snip2DiagRect">
            <a:avLst>
              <a:gd name="adj1" fmla="val 15875"/>
              <a:gd name="adj2" fmla="val 0"/>
            </a:avLst>
          </a:prstGeom>
          <a:solidFill>
            <a:schemeClr val="bg1">
              <a:alpha val="90000"/>
            </a:schemeClr>
          </a:solidFill>
        </p:spPr>
        <p:txBody>
          <a:bodyPr wrap="square" lIns="108000" tIns="108000" rIns="108000" bIns="0" rtlCol="0" anchor="t" anchorCtr="0">
            <a:noAutofit/>
          </a:bodyPr>
          <a:lstStyle>
            <a:lvl1pPr marL="0" algn="l" defTabSz="914400" rtl="0" eaLnBrk="1" latinLnBrk="0" hangingPunct="1">
              <a:lnSpc>
                <a:spcPct val="80000"/>
              </a:lnSpc>
              <a:spcBef>
                <a:spcPts val="0"/>
              </a:spcBef>
              <a:defRPr lang="en-GB" sz="3000" b="1" kern="0">
                <a:solidFill>
                  <a:schemeClr val="accent1"/>
                </a:solidFill>
                <a:latin typeface="+mj-lt"/>
                <a:ea typeface="+mn-ea"/>
                <a:cs typeface="+mn-cs"/>
              </a:defRPr>
            </a:lvl1pPr>
          </a:lstStyle>
          <a:p>
            <a:r>
              <a:rPr lang="en-US" dirty="0"/>
              <a:t>Click to edit </a:t>
            </a:r>
            <a:br>
              <a:rPr lang="en-US" dirty="0"/>
            </a:br>
            <a:r>
              <a:rPr lang="en-US" dirty="0"/>
              <a:t>Master title style</a:t>
            </a:r>
            <a:endParaRPr lang="en-GB" dirty="0"/>
          </a:p>
        </p:txBody>
      </p:sp>
      <p:sp>
        <p:nvSpPr>
          <p:cNvPr id="3" name="Subtitle 2"/>
          <p:cNvSpPr>
            <a:spLocks noGrp="1"/>
          </p:cNvSpPr>
          <p:nvPr>
            <p:ph type="subTitle" idx="1" hasCustomPrompt="1"/>
          </p:nvPr>
        </p:nvSpPr>
        <p:spPr bwMode="gray">
          <a:xfrm>
            <a:off x="601199" y="4069365"/>
            <a:ext cx="4431600" cy="612645"/>
          </a:xfrm>
          <a:noFill/>
        </p:spPr>
        <p:txBody>
          <a:bodyPr wrap="square" lIns="0" tIns="0" rIns="0" bIns="162000" rtlCol="0" anchor="b" anchorCtr="0">
            <a:spAutoFit/>
          </a:bodyPr>
          <a:lstStyle>
            <a:lvl1pPr marL="0" indent="0" algn="l" defTabSz="914400" rtl="0" eaLnBrk="1" latinLnBrk="0" hangingPunct="1">
              <a:lnSpc>
                <a:spcPct val="100000"/>
              </a:lnSpc>
              <a:spcBef>
                <a:spcPts val="0"/>
              </a:spcBef>
              <a:buNone/>
              <a:defRPr lang="en-GB" sz="1400" b="0" kern="1200" dirty="0">
                <a:solidFill>
                  <a:schemeClr val="tx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a:t>
            </a:r>
            <a:br>
              <a:rPr lang="en-US" dirty="0"/>
            </a:br>
            <a:r>
              <a:rPr lang="en-US" dirty="0"/>
              <a:t>Master subtitle style</a:t>
            </a:r>
            <a:endParaRPr lang="en-GB" dirty="0"/>
          </a:p>
        </p:txBody>
      </p:sp>
      <p:grpSp>
        <p:nvGrpSpPr>
          <p:cNvPr id="18" name="Group 17">
            <a:extLst>
              <a:ext uri="{FF2B5EF4-FFF2-40B4-BE49-F238E27FC236}">
                <a16:creationId xmlns:a16="http://schemas.microsoft.com/office/drawing/2014/main" id="{0B0DBAD6-3F35-468A-9602-267769C710D8}"/>
              </a:ext>
            </a:extLst>
          </p:cNvPr>
          <p:cNvGrpSpPr/>
          <p:nvPr userDrawn="1"/>
        </p:nvGrpSpPr>
        <p:grpSpPr>
          <a:xfrm>
            <a:off x="9203090" y="4682010"/>
            <a:ext cx="1530000" cy="461490"/>
            <a:chOff x="9203090" y="4682010"/>
            <a:chExt cx="1440002" cy="461490"/>
          </a:xfrm>
        </p:grpSpPr>
        <p:cxnSp>
          <p:nvCxnSpPr>
            <p:cNvPr id="19" name="Straight Connector 18">
              <a:extLst>
                <a:ext uri="{FF2B5EF4-FFF2-40B4-BE49-F238E27FC236}">
                  <a16:creationId xmlns:a16="http://schemas.microsoft.com/office/drawing/2014/main" id="{2E9D52B4-A941-4934-AD9B-7B5BA1C97A50}"/>
                </a:ext>
              </a:extLst>
            </p:cNvPr>
            <p:cNvCxnSpPr/>
            <p:nvPr/>
          </p:nvCxnSpPr>
          <p:spPr bwMode="gray">
            <a:xfrm flipH="1">
              <a:off x="9203092" y="5143500"/>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9413AD9-6BE1-4A5D-8CDB-D4B7292DF23F}"/>
                </a:ext>
              </a:extLst>
            </p:cNvPr>
            <p:cNvCxnSpPr/>
            <p:nvPr/>
          </p:nvCxnSpPr>
          <p:spPr bwMode="gray">
            <a:xfrm flipH="1">
              <a:off x="9203092" y="4682010"/>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7280614E-0C52-4941-8067-C4E0E6114F03}"/>
                </a:ext>
              </a:extLst>
            </p:cNvPr>
            <p:cNvSpPr/>
            <p:nvPr/>
          </p:nvSpPr>
          <p:spPr bwMode="gray">
            <a:xfrm flipH="1">
              <a:off x="9203090" y="4721225"/>
              <a:ext cx="1439999" cy="422274"/>
            </a:xfrm>
            <a:prstGeom prst="rect">
              <a:avLst/>
            </a:prstGeom>
            <a:solidFill>
              <a:schemeClr val="bg2">
                <a:lumMod val="60000"/>
                <a:lumOff val="4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08000" bIns="54000" rtlCol="0" anchor="b" anchorCtr="0">
              <a:noAutofit/>
            </a:bodyPr>
            <a:lstStyle/>
            <a:p>
              <a:pPr algn="l"/>
              <a:r>
                <a:rPr lang="en-US" sz="1000" b="0" dirty="0">
                  <a:solidFill>
                    <a:schemeClr val="tx1"/>
                  </a:solidFill>
                </a:rPr>
                <a:t>Logo margin bottom</a:t>
              </a:r>
            </a:p>
          </p:txBody>
        </p:sp>
      </p:grpSp>
      <p:grpSp>
        <p:nvGrpSpPr>
          <p:cNvPr id="22" name="Group 21">
            <a:extLst>
              <a:ext uri="{FF2B5EF4-FFF2-40B4-BE49-F238E27FC236}">
                <a16:creationId xmlns:a16="http://schemas.microsoft.com/office/drawing/2014/main" id="{1238DB93-241B-43B2-AAD6-872AB5598331}"/>
              </a:ext>
            </a:extLst>
          </p:cNvPr>
          <p:cNvGrpSpPr/>
          <p:nvPr userDrawn="1"/>
        </p:nvGrpSpPr>
        <p:grpSpPr>
          <a:xfrm>
            <a:off x="8801099" y="5203311"/>
            <a:ext cx="342904" cy="1530000"/>
            <a:chOff x="8801099" y="5203311"/>
            <a:chExt cx="342904" cy="1440000"/>
          </a:xfrm>
        </p:grpSpPr>
        <p:cxnSp>
          <p:nvCxnSpPr>
            <p:cNvPr id="23" name="Straight Connector 22">
              <a:extLst>
                <a:ext uri="{FF2B5EF4-FFF2-40B4-BE49-F238E27FC236}">
                  <a16:creationId xmlns:a16="http://schemas.microsoft.com/office/drawing/2014/main" id="{17B79566-831A-4FB4-A7A0-6C823FB4EB30}"/>
                </a:ext>
              </a:extLst>
            </p:cNvPr>
            <p:cNvCxnSpPr/>
            <p:nvPr/>
          </p:nvCxnSpPr>
          <p:spPr bwMode="gray">
            <a:xfrm rot="5400000" flipH="1">
              <a:off x="8081575" y="5923311"/>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07DB0C3-4D42-479D-8E40-280BC626EF93}"/>
                </a:ext>
              </a:extLst>
            </p:cNvPr>
            <p:cNvCxnSpPr/>
            <p:nvPr/>
          </p:nvCxnSpPr>
          <p:spPr bwMode="gray">
            <a:xfrm rot="5400000" flipH="1">
              <a:off x="8424003" y="5923311"/>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1D782735-8D0D-42AE-A823-AF45C1DEEF98}"/>
                </a:ext>
              </a:extLst>
            </p:cNvPr>
            <p:cNvSpPr/>
            <p:nvPr/>
          </p:nvSpPr>
          <p:spPr bwMode="gray">
            <a:xfrm rot="5400000" flipH="1">
              <a:off x="8251993" y="5752418"/>
              <a:ext cx="1439999" cy="341787"/>
            </a:xfrm>
            <a:prstGeom prst="rect">
              <a:avLst/>
            </a:prstGeom>
            <a:solidFill>
              <a:schemeClr val="bg2">
                <a:lumMod val="60000"/>
                <a:lumOff val="4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08000" bIns="54000" rtlCol="0" anchor="b" anchorCtr="0">
              <a:noAutofit/>
            </a:bodyPr>
            <a:lstStyle/>
            <a:p>
              <a:pPr algn="l"/>
              <a:r>
                <a:rPr lang="en-US" sz="1000" b="0" dirty="0">
                  <a:solidFill>
                    <a:schemeClr val="tx1"/>
                  </a:solidFill>
                </a:rPr>
                <a:t>Logo margin right</a:t>
              </a:r>
            </a:p>
          </p:txBody>
        </p:sp>
      </p:grpSp>
      <p:pic>
        <p:nvPicPr>
          <p:cNvPr id="16" name="Picture 15">
            <a:extLst>
              <a:ext uri="{FF2B5EF4-FFF2-40B4-BE49-F238E27FC236}">
                <a16:creationId xmlns:a16="http://schemas.microsoft.com/office/drawing/2014/main" id="{877F479E-C567-4B93-8B6E-A2FC6A313CC7}"/>
              </a:ext>
            </a:extLst>
          </p:cNvPr>
          <p:cNvPicPr>
            <a:picLocks noChangeAspect="1"/>
          </p:cNvPicPr>
          <p:nvPr userDrawn="1"/>
        </p:nvPicPr>
        <p:blipFill>
          <a:blip r:embed="rId2"/>
          <a:stretch>
            <a:fillRect/>
          </a:stretch>
        </p:blipFill>
        <p:spPr>
          <a:xfrm>
            <a:off x="6557960" y="381004"/>
            <a:ext cx="2232000" cy="328013"/>
          </a:xfrm>
          <a:prstGeom prst="rect">
            <a:avLst/>
          </a:prstGeom>
        </p:spPr>
      </p:pic>
    </p:spTree>
    <p:extLst>
      <p:ext uri="{BB962C8B-B14F-4D97-AF65-F5344CB8AC3E}">
        <p14:creationId xmlns:p14="http://schemas.microsoft.com/office/powerpoint/2010/main" val="3223028221"/>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Image with Header and circles 4">
    <p:bg>
      <p:bgPr>
        <a:solidFill>
          <a:srgbClr val="005192"/>
        </a:solidFill>
        <a:effectLst/>
      </p:bgPr>
    </p:bg>
    <p:spTree>
      <p:nvGrpSpPr>
        <p:cNvPr id="1" name=""/>
        <p:cNvGrpSpPr/>
        <p:nvPr/>
      </p:nvGrpSpPr>
      <p:grpSpPr>
        <a:xfrm>
          <a:off x="0" y="0"/>
          <a:ext cx="0" cy="0"/>
          <a:chOff x="0" y="0"/>
          <a:chExt cx="0" cy="0"/>
        </a:xfrm>
      </p:grpSpPr>
      <p:sp>
        <p:nvSpPr>
          <p:cNvPr id="32" name="Freeform: Shape 31">
            <a:extLst>
              <a:ext uri="{FF2B5EF4-FFF2-40B4-BE49-F238E27FC236}">
                <a16:creationId xmlns:a16="http://schemas.microsoft.com/office/drawing/2014/main" id="{4BC2EB70-D3B0-48D3-A2B6-BCB15FB444A7}"/>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75" name="Rectangle 74">
            <a:extLst>
              <a:ext uri="{FF2B5EF4-FFF2-40B4-BE49-F238E27FC236}">
                <a16:creationId xmlns:a16="http://schemas.microsoft.com/office/drawing/2014/main" id="{460844D6-DD6E-471B-A76D-4769B5776D21}"/>
              </a:ext>
            </a:extLst>
          </p:cNvPr>
          <p:cNvSpPr/>
          <p:nvPr userDrawn="1"/>
        </p:nvSpPr>
        <p:spPr>
          <a:xfrm>
            <a:off x="7013813" y="157163"/>
            <a:ext cx="1782000" cy="417546"/>
          </a:xfrm>
          <a:prstGeom prst="rect">
            <a:avLst/>
          </a:prstGeom>
          <a:gradFill flip="none" rotWithShape="1">
            <a:gsLst>
              <a:gs pos="0">
                <a:srgbClr val="005192"/>
              </a:gs>
              <a:gs pos="100000">
                <a:srgbClr val="008BC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57" name="Picture Placeholder 56"/>
          <p:cNvSpPr>
            <a:spLocks noGrp="1"/>
          </p:cNvSpPr>
          <p:nvPr>
            <p:ph type="pic" sz="quarter" idx="17"/>
          </p:nvPr>
        </p:nvSpPr>
        <p:spPr bwMode="gray">
          <a:xfrm>
            <a:off x="1" y="-900"/>
            <a:ext cx="9143999" cy="5144400"/>
          </a:xfrm>
          <a:custGeom>
            <a:avLst/>
            <a:gdLst>
              <a:gd name="connsiteX0" fmla="*/ 8398022 w 9143999"/>
              <a:gd name="connsiteY0" fmla="*/ 345388 h 5144400"/>
              <a:gd name="connsiteX1" fmla="*/ 8441303 w 9143999"/>
              <a:gd name="connsiteY1" fmla="*/ 397979 h 5144400"/>
              <a:gd name="connsiteX2" fmla="*/ 8391839 w 9143999"/>
              <a:gd name="connsiteY2" fmla="*/ 466038 h 5144400"/>
              <a:gd name="connsiteX3" fmla="*/ 8382565 w 9143999"/>
              <a:gd name="connsiteY3" fmla="*/ 466038 h 5144400"/>
              <a:gd name="connsiteX4" fmla="*/ 8382565 w 9143999"/>
              <a:gd name="connsiteY4" fmla="*/ 348482 h 5144400"/>
              <a:gd name="connsiteX5" fmla="*/ 8398022 w 9143999"/>
              <a:gd name="connsiteY5" fmla="*/ 345388 h 5144400"/>
              <a:gd name="connsiteX6" fmla="*/ 8194405 w 9143999"/>
              <a:gd name="connsiteY6" fmla="*/ 339038 h 5144400"/>
              <a:gd name="connsiteX7" fmla="*/ 8222228 w 9143999"/>
              <a:gd name="connsiteY7" fmla="*/ 404046 h 5144400"/>
              <a:gd name="connsiteX8" fmla="*/ 8194405 w 9143999"/>
              <a:gd name="connsiteY8" fmla="*/ 462863 h 5144400"/>
              <a:gd name="connsiteX9" fmla="*/ 8163490 w 9143999"/>
              <a:gd name="connsiteY9" fmla="*/ 400951 h 5144400"/>
              <a:gd name="connsiteX10" fmla="*/ 8194405 w 9143999"/>
              <a:gd name="connsiteY10" fmla="*/ 339038 h 5144400"/>
              <a:gd name="connsiteX11" fmla="*/ 7739627 w 9143999"/>
              <a:gd name="connsiteY11" fmla="*/ 339038 h 5144400"/>
              <a:gd name="connsiteX12" fmla="*/ 7768202 w 9143999"/>
              <a:gd name="connsiteY12" fmla="*/ 404046 h 5144400"/>
              <a:gd name="connsiteX13" fmla="*/ 7739627 w 9143999"/>
              <a:gd name="connsiteY13" fmla="*/ 462863 h 5144400"/>
              <a:gd name="connsiteX14" fmla="*/ 7711052 w 9143999"/>
              <a:gd name="connsiteY14" fmla="*/ 400951 h 5144400"/>
              <a:gd name="connsiteX15" fmla="*/ 7739627 w 9143999"/>
              <a:gd name="connsiteY15" fmla="*/ 339038 h 5144400"/>
              <a:gd name="connsiteX16" fmla="*/ 8619102 w 9143999"/>
              <a:gd name="connsiteY16" fmla="*/ 335863 h 5144400"/>
              <a:gd name="connsiteX17" fmla="*/ 8650852 w 9143999"/>
              <a:gd name="connsiteY17" fmla="*/ 378725 h 5144400"/>
              <a:gd name="connsiteX18" fmla="*/ 8590527 w 9143999"/>
              <a:gd name="connsiteY18" fmla="*/ 378725 h 5144400"/>
              <a:gd name="connsiteX19" fmla="*/ 8619102 w 9143999"/>
              <a:gd name="connsiteY19" fmla="*/ 335863 h 5144400"/>
              <a:gd name="connsiteX20" fmla="*/ 7121217 w 9143999"/>
              <a:gd name="connsiteY20" fmla="*/ 308875 h 5144400"/>
              <a:gd name="connsiteX21" fmla="*/ 7149078 w 9143999"/>
              <a:gd name="connsiteY21" fmla="*/ 410475 h 5144400"/>
              <a:gd name="connsiteX22" fmla="*/ 7087165 w 9143999"/>
              <a:gd name="connsiteY22" fmla="*/ 410475 h 5144400"/>
              <a:gd name="connsiteX23" fmla="*/ 7121217 w 9143999"/>
              <a:gd name="connsiteY23" fmla="*/ 308875 h 5144400"/>
              <a:gd name="connsiteX24" fmla="*/ 7471280 w 9143999"/>
              <a:gd name="connsiteY24" fmla="*/ 305701 h 5144400"/>
              <a:gd name="connsiteX25" fmla="*/ 7471280 w 9143999"/>
              <a:gd name="connsiteY25" fmla="*/ 336410 h 5144400"/>
              <a:gd name="connsiteX26" fmla="*/ 7539787 w 9143999"/>
              <a:gd name="connsiteY26" fmla="*/ 336410 h 5144400"/>
              <a:gd name="connsiteX27" fmla="*/ 7474394 w 9143999"/>
              <a:gd name="connsiteY27" fmla="*/ 465388 h 5144400"/>
              <a:gd name="connsiteX28" fmla="*/ 7471280 w 9143999"/>
              <a:gd name="connsiteY28" fmla="*/ 493026 h 5144400"/>
              <a:gd name="connsiteX29" fmla="*/ 7608294 w 9143999"/>
              <a:gd name="connsiteY29" fmla="*/ 493026 h 5144400"/>
              <a:gd name="connsiteX30" fmla="*/ 7630091 w 9143999"/>
              <a:gd name="connsiteY30" fmla="*/ 471529 h 5144400"/>
              <a:gd name="connsiteX31" fmla="*/ 7630091 w 9143999"/>
              <a:gd name="connsiteY31" fmla="*/ 459246 h 5144400"/>
              <a:gd name="connsiteX32" fmla="*/ 7592724 w 9143999"/>
              <a:gd name="connsiteY32" fmla="*/ 462317 h 5144400"/>
              <a:gd name="connsiteX33" fmla="*/ 7549129 w 9143999"/>
              <a:gd name="connsiteY33" fmla="*/ 462317 h 5144400"/>
              <a:gd name="connsiteX34" fmla="*/ 7626977 w 9143999"/>
              <a:gd name="connsiteY34" fmla="*/ 305701 h 5144400"/>
              <a:gd name="connsiteX35" fmla="*/ 7471280 w 9143999"/>
              <a:gd name="connsiteY35" fmla="*/ 305701 h 5144400"/>
              <a:gd name="connsiteX36" fmla="*/ 8622169 w 9143999"/>
              <a:gd name="connsiteY36" fmla="*/ 305700 h 5144400"/>
              <a:gd name="connsiteX37" fmla="*/ 8525441 w 9143999"/>
              <a:gd name="connsiteY37" fmla="*/ 397827 h 5144400"/>
              <a:gd name="connsiteX38" fmla="*/ 8619049 w 9143999"/>
              <a:gd name="connsiteY38" fmla="*/ 493025 h 5144400"/>
              <a:gd name="connsiteX39" fmla="*/ 8697055 w 9143999"/>
              <a:gd name="connsiteY39" fmla="*/ 434678 h 5144400"/>
              <a:gd name="connsiteX40" fmla="*/ 8644011 w 9143999"/>
              <a:gd name="connsiteY40" fmla="*/ 450033 h 5144400"/>
              <a:gd name="connsiteX41" fmla="*/ 8590966 w 9143999"/>
              <a:gd name="connsiteY41" fmla="*/ 403969 h 5144400"/>
              <a:gd name="connsiteX42" fmla="*/ 8706416 w 9143999"/>
              <a:gd name="connsiteY42" fmla="*/ 403969 h 5144400"/>
              <a:gd name="connsiteX43" fmla="*/ 8706416 w 9143999"/>
              <a:gd name="connsiteY43" fmla="*/ 382473 h 5144400"/>
              <a:gd name="connsiteX44" fmla="*/ 8622169 w 9143999"/>
              <a:gd name="connsiteY44" fmla="*/ 305700 h 5144400"/>
              <a:gd name="connsiteX45" fmla="*/ 8195215 w 9143999"/>
              <a:gd name="connsiteY45" fmla="*/ 305700 h 5144400"/>
              <a:gd name="connsiteX46" fmla="*/ 8098403 w 9143999"/>
              <a:gd name="connsiteY46" fmla="*/ 403969 h 5144400"/>
              <a:gd name="connsiteX47" fmla="*/ 8192092 w 9143999"/>
              <a:gd name="connsiteY47" fmla="*/ 493025 h 5144400"/>
              <a:gd name="connsiteX48" fmla="*/ 8288903 w 9143999"/>
              <a:gd name="connsiteY48" fmla="*/ 394756 h 5144400"/>
              <a:gd name="connsiteX49" fmla="*/ 8195215 w 9143999"/>
              <a:gd name="connsiteY49" fmla="*/ 305700 h 5144400"/>
              <a:gd name="connsiteX50" fmla="*/ 7739629 w 9143999"/>
              <a:gd name="connsiteY50" fmla="*/ 305700 h 5144400"/>
              <a:gd name="connsiteX51" fmla="*/ 7639616 w 9143999"/>
              <a:gd name="connsiteY51" fmla="*/ 403969 h 5144400"/>
              <a:gd name="connsiteX52" fmla="*/ 7739629 w 9143999"/>
              <a:gd name="connsiteY52" fmla="*/ 493025 h 5144400"/>
              <a:gd name="connsiteX53" fmla="*/ 7839641 w 9143999"/>
              <a:gd name="connsiteY53" fmla="*/ 394757 h 5144400"/>
              <a:gd name="connsiteX54" fmla="*/ 7739629 w 9143999"/>
              <a:gd name="connsiteY54" fmla="*/ 305700 h 5144400"/>
              <a:gd name="connsiteX55" fmla="*/ 7102867 w 9143999"/>
              <a:gd name="connsiteY55" fmla="*/ 256489 h 5144400"/>
              <a:gd name="connsiteX56" fmla="*/ 7018903 w 9143999"/>
              <a:gd name="connsiteY56" fmla="*/ 493026 h 5144400"/>
              <a:gd name="connsiteX57" fmla="*/ 7056220 w 9143999"/>
              <a:gd name="connsiteY57" fmla="*/ 493026 h 5144400"/>
              <a:gd name="connsiteX58" fmla="*/ 7077989 w 9143999"/>
              <a:gd name="connsiteY58" fmla="*/ 434659 h 5144400"/>
              <a:gd name="connsiteX59" fmla="*/ 7158843 w 9143999"/>
              <a:gd name="connsiteY59" fmla="*/ 434659 h 5144400"/>
              <a:gd name="connsiteX60" fmla="*/ 7171282 w 9143999"/>
              <a:gd name="connsiteY60" fmla="*/ 471522 h 5144400"/>
              <a:gd name="connsiteX61" fmla="*/ 7196160 w 9143999"/>
              <a:gd name="connsiteY61" fmla="*/ 493026 h 5144400"/>
              <a:gd name="connsiteX62" fmla="*/ 7245916 w 9143999"/>
              <a:gd name="connsiteY62" fmla="*/ 493026 h 5144400"/>
              <a:gd name="connsiteX63" fmla="*/ 7239697 w 9143999"/>
              <a:gd name="connsiteY63" fmla="*/ 477666 h 5144400"/>
              <a:gd name="connsiteX64" fmla="*/ 7180611 w 9143999"/>
              <a:gd name="connsiteY64" fmla="*/ 290280 h 5144400"/>
              <a:gd name="connsiteX65" fmla="*/ 7133965 w 9143999"/>
              <a:gd name="connsiteY65" fmla="*/ 256489 h 5144400"/>
              <a:gd name="connsiteX66" fmla="*/ 7102867 w 9143999"/>
              <a:gd name="connsiteY66" fmla="*/ 256489 h 5144400"/>
              <a:gd name="connsiteX67" fmla="*/ 7866628 w 9143999"/>
              <a:gd name="connsiteY67" fmla="*/ 256488 h 5144400"/>
              <a:gd name="connsiteX68" fmla="*/ 7866628 w 9143999"/>
              <a:gd name="connsiteY68" fmla="*/ 493025 h 5144400"/>
              <a:gd name="connsiteX69" fmla="*/ 7907268 w 9143999"/>
              <a:gd name="connsiteY69" fmla="*/ 493025 h 5144400"/>
              <a:gd name="connsiteX70" fmla="*/ 7907268 w 9143999"/>
              <a:gd name="connsiteY70" fmla="*/ 345574 h 5144400"/>
              <a:gd name="connsiteX71" fmla="*/ 8004179 w 9143999"/>
              <a:gd name="connsiteY71" fmla="*/ 462306 h 5144400"/>
              <a:gd name="connsiteX72" fmla="*/ 8041693 w 9143999"/>
              <a:gd name="connsiteY72" fmla="*/ 493025 h 5144400"/>
              <a:gd name="connsiteX73" fmla="*/ 8069828 w 9143999"/>
              <a:gd name="connsiteY73" fmla="*/ 493025 h 5144400"/>
              <a:gd name="connsiteX74" fmla="*/ 8069828 w 9143999"/>
              <a:gd name="connsiteY74" fmla="*/ 277992 h 5144400"/>
              <a:gd name="connsiteX75" fmla="*/ 8047945 w 9143999"/>
              <a:gd name="connsiteY75" fmla="*/ 256488 h 5144400"/>
              <a:gd name="connsiteX76" fmla="*/ 8029188 w 9143999"/>
              <a:gd name="connsiteY76" fmla="*/ 256488 h 5144400"/>
              <a:gd name="connsiteX77" fmla="*/ 8029188 w 9143999"/>
              <a:gd name="connsiteY77" fmla="*/ 400868 h 5144400"/>
              <a:gd name="connsiteX78" fmla="*/ 7938530 w 9143999"/>
              <a:gd name="connsiteY78" fmla="*/ 284136 h 5144400"/>
              <a:gd name="connsiteX79" fmla="*/ 7894764 w 9143999"/>
              <a:gd name="connsiteY79" fmla="*/ 256488 h 5144400"/>
              <a:gd name="connsiteX80" fmla="*/ 7866628 w 9143999"/>
              <a:gd name="connsiteY80" fmla="*/ 256488 h 5144400"/>
              <a:gd name="connsiteX81" fmla="*/ 8738166 w 9143999"/>
              <a:gd name="connsiteY81" fmla="*/ 237438 h 5144400"/>
              <a:gd name="connsiteX82" fmla="*/ 8738166 w 9143999"/>
              <a:gd name="connsiteY82" fmla="*/ 493025 h 5144400"/>
              <a:gd name="connsiteX83" fmla="*/ 8793729 w 9143999"/>
              <a:gd name="connsiteY83" fmla="*/ 493025 h 5144400"/>
              <a:gd name="connsiteX84" fmla="*/ 8793729 w 9143999"/>
              <a:gd name="connsiteY84" fmla="*/ 274390 h 5144400"/>
              <a:gd name="connsiteX85" fmla="*/ 8759774 w 9143999"/>
              <a:gd name="connsiteY85" fmla="*/ 237438 h 5144400"/>
              <a:gd name="connsiteX86" fmla="*/ 8738166 w 9143999"/>
              <a:gd name="connsiteY86" fmla="*/ 237438 h 5144400"/>
              <a:gd name="connsiteX87" fmla="*/ 8315891 w 9143999"/>
              <a:gd name="connsiteY87" fmla="*/ 237438 h 5144400"/>
              <a:gd name="connsiteX88" fmla="*/ 8315891 w 9143999"/>
              <a:gd name="connsiteY88" fmla="*/ 493025 h 5144400"/>
              <a:gd name="connsiteX89" fmla="*/ 8393965 w 9143999"/>
              <a:gd name="connsiteY89" fmla="*/ 493025 h 5144400"/>
              <a:gd name="connsiteX90" fmla="*/ 8506391 w 9143999"/>
              <a:gd name="connsiteY90" fmla="*/ 388327 h 5144400"/>
              <a:gd name="connsiteX91" fmla="*/ 8431440 w 9143999"/>
              <a:gd name="connsiteY91" fmla="*/ 308263 h 5144400"/>
              <a:gd name="connsiteX92" fmla="*/ 8381473 w 9143999"/>
              <a:gd name="connsiteY92" fmla="*/ 326740 h 5144400"/>
              <a:gd name="connsiteX93" fmla="*/ 8381473 w 9143999"/>
              <a:gd name="connsiteY93" fmla="*/ 274391 h 5144400"/>
              <a:gd name="connsiteX94" fmla="*/ 8340875 w 9143999"/>
              <a:gd name="connsiteY94" fmla="*/ 237438 h 5144400"/>
              <a:gd name="connsiteX95" fmla="*/ 8315891 w 9143999"/>
              <a:gd name="connsiteY95" fmla="*/ 237438 h 5144400"/>
              <a:gd name="connsiteX96" fmla="*/ 7268141 w 9143999"/>
              <a:gd name="connsiteY96" fmla="*/ 237438 h 5144400"/>
              <a:gd name="connsiteX97" fmla="*/ 7268141 w 9143999"/>
              <a:gd name="connsiteY97" fmla="*/ 493025 h 5144400"/>
              <a:gd name="connsiteX98" fmla="*/ 7333229 w 9143999"/>
              <a:gd name="connsiteY98" fmla="*/ 493025 h 5144400"/>
              <a:gd name="connsiteX99" fmla="*/ 7333229 w 9143999"/>
              <a:gd name="connsiteY99" fmla="*/ 420859 h 5144400"/>
              <a:gd name="connsiteX100" fmla="*/ 7333229 w 9143999"/>
              <a:gd name="connsiteY100" fmla="*/ 394758 h 5144400"/>
              <a:gd name="connsiteX101" fmla="*/ 7354980 w 9143999"/>
              <a:gd name="connsiteY101" fmla="*/ 433815 h 5144400"/>
              <a:gd name="connsiteX102" fmla="*/ 7370852 w 9143999"/>
              <a:gd name="connsiteY102" fmla="*/ 462317 h 5144400"/>
              <a:gd name="connsiteX103" fmla="*/ 7405341 w 9143999"/>
              <a:gd name="connsiteY103" fmla="*/ 493026 h 5144400"/>
              <a:gd name="connsiteX104" fmla="*/ 7458641 w 9143999"/>
              <a:gd name="connsiteY104" fmla="*/ 493026 h 5144400"/>
              <a:gd name="connsiteX105" fmla="*/ 7446100 w 9143999"/>
              <a:gd name="connsiteY105" fmla="*/ 477671 h 5144400"/>
              <a:gd name="connsiteX106" fmla="*/ 7395935 w 9143999"/>
              <a:gd name="connsiteY106" fmla="*/ 379402 h 5144400"/>
              <a:gd name="connsiteX107" fmla="*/ 7455506 w 9143999"/>
              <a:gd name="connsiteY107" fmla="*/ 305701 h 5144400"/>
              <a:gd name="connsiteX108" fmla="*/ 7402205 w 9143999"/>
              <a:gd name="connsiteY108" fmla="*/ 305701 h 5144400"/>
              <a:gd name="connsiteX109" fmla="*/ 7334306 w 9143999"/>
              <a:gd name="connsiteY109" fmla="*/ 393365 h 5144400"/>
              <a:gd name="connsiteX110" fmla="*/ 7333229 w 9143999"/>
              <a:gd name="connsiteY110" fmla="*/ 394755 h 5144400"/>
              <a:gd name="connsiteX111" fmla="*/ 7333229 w 9143999"/>
              <a:gd name="connsiteY111" fmla="*/ 366627 h 5144400"/>
              <a:gd name="connsiteX112" fmla="*/ 7333229 w 9143999"/>
              <a:gd name="connsiteY112" fmla="*/ 274391 h 5144400"/>
              <a:gd name="connsiteX113" fmla="*/ 7289837 w 9143999"/>
              <a:gd name="connsiteY113" fmla="*/ 237438 h 5144400"/>
              <a:gd name="connsiteX114" fmla="*/ 7268141 w 9143999"/>
              <a:gd name="connsiteY114" fmla="*/ 237438 h 5144400"/>
              <a:gd name="connsiteX115" fmla="*/ 8932543 w 9143999"/>
              <a:gd name="connsiteY115" fmla="*/ 0 h 5144400"/>
              <a:gd name="connsiteX116" fmla="*/ 9143999 w 9143999"/>
              <a:gd name="connsiteY116" fmla="*/ 0 h 5144400"/>
              <a:gd name="connsiteX117" fmla="*/ 9143999 w 9143999"/>
              <a:gd name="connsiteY117" fmla="*/ 5144400 h 5144400"/>
              <a:gd name="connsiteX118" fmla="*/ 9027314 w 9143999"/>
              <a:gd name="connsiteY118" fmla="*/ 5144400 h 5144400"/>
              <a:gd name="connsiteX119" fmla="*/ 9009627 w 9143999"/>
              <a:gd name="connsiteY119" fmla="*/ 5144400 h 5144400"/>
              <a:gd name="connsiteX120" fmla="*/ 8932543 w 9143999"/>
              <a:gd name="connsiteY120" fmla="*/ 5144400 h 5144400"/>
              <a:gd name="connsiteX121" fmla="*/ 8853155 w 9143999"/>
              <a:gd name="connsiteY121" fmla="*/ 5144400 h 5144400"/>
              <a:gd name="connsiteX122" fmla="*/ 0 w 9143999"/>
              <a:gd name="connsiteY122" fmla="*/ 5144400 h 5144400"/>
              <a:gd name="connsiteX123" fmla="*/ 0 w 9143999"/>
              <a:gd name="connsiteY123" fmla="*/ 902 h 5144400"/>
              <a:gd name="connsiteX124" fmla="*/ 8853155 w 9143999"/>
              <a:gd name="connsiteY124" fmla="*/ 902 h 5144400"/>
              <a:gd name="connsiteX125" fmla="*/ 8853155 w 9143999"/>
              <a:gd name="connsiteY125" fmla="*/ 900 h 5144400"/>
              <a:gd name="connsiteX126" fmla="*/ 8932543 w 9143999"/>
              <a:gd name="connsiteY126" fmla="*/ 90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143999" h="5144400">
                <a:moveTo>
                  <a:pt x="8398022" y="345388"/>
                </a:moveTo>
                <a:cubicBezTo>
                  <a:pt x="8419663" y="345388"/>
                  <a:pt x="8441303" y="367043"/>
                  <a:pt x="8441303" y="397979"/>
                </a:cubicBezTo>
                <a:cubicBezTo>
                  <a:pt x="8441303" y="441289"/>
                  <a:pt x="8422754" y="466038"/>
                  <a:pt x="8391839" y="466038"/>
                </a:cubicBezTo>
                <a:cubicBezTo>
                  <a:pt x="8382565" y="466038"/>
                  <a:pt x="8382565" y="466038"/>
                  <a:pt x="8382565" y="466038"/>
                </a:cubicBezTo>
                <a:cubicBezTo>
                  <a:pt x="8382565" y="348482"/>
                  <a:pt x="8382565" y="348482"/>
                  <a:pt x="8382565" y="348482"/>
                </a:cubicBezTo>
                <a:cubicBezTo>
                  <a:pt x="8385656" y="345388"/>
                  <a:pt x="8388748" y="345388"/>
                  <a:pt x="8398022" y="345388"/>
                </a:cubicBezTo>
                <a:close/>
                <a:moveTo>
                  <a:pt x="8194405" y="339038"/>
                </a:moveTo>
                <a:cubicBezTo>
                  <a:pt x="8212954" y="339038"/>
                  <a:pt x="8222228" y="366899"/>
                  <a:pt x="8222228" y="404046"/>
                </a:cubicBezTo>
                <a:cubicBezTo>
                  <a:pt x="8222228" y="441194"/>
                  <a:pt x="8212954" y="462863"/>
                  <a:pt x="8194405" y="462863"/>
                </a:cubicBezTo>
                <a:cubicBezTo>
                  <a:pt x="8172765" y="462863"/>
                  <a:pt x="8163490" y="438098"/>
                  <a:pt x="8163490" y="400951"/>
                </a:cubicBezTo>
                <a:cubicBezTo>
                  <a:pt x="8163490" y="363803"/>
                  <a:pt x="8172765" y="339038"/>
                  <a:pt x="8194405" y="339038"/>
                </a:cubicBezTo>
                <a:close/>
                <a:moveTo>
                  <a:pt x="7739627" y="339038"/>
                </a:moveTo>
                <a:cubicBezTo>
                  <a:pt x="7761852" y="339038"/>
                  <a:pt x="7768202" y="366899"/>
                  <a:pt x="7768202" y="404046"/>
                </a:cubicBezTo>
                <a:cubicBezTo>
                  <a:pt x="7768202" y="441194"/>
                  <a:pt x="7761852" y="462863"/>
                  <a:pt x="7739627" y="462863"/>
                </a:cubicBezTo>
                <a:cubicBezTo>
                  <a:pt x="7717402" y="462863"/>
                  <a:pt x="7711052" y="438098"/>
                  <a:pt x="7711052" y="400951"/>
                </a:cubicBezTo>
                <a:cubicBezTo>
                  <a:pt x="7711052" y="363803"/>
                  <a:pt x="7717402" y="339038"/>
                  <a:pt x="7739627" y="339038"/>
                </a:cubicBezTo>
                <a:close/>
                <a:moveTo>
                  <a:pt x="8619102" y="335863"/>
                </a:moveTo>
                <a:cubicBezTo>
                  <a:pt x="8644502" y="335863"/>
                  <a:pt x="8650852" y="378725"/>
                  <a:pt x="8650852" y="378725"/>
                </a:cubicBezTo>
                <a:cubicBezTo>
                  <a:pt x="8590527" y="378725"/>
                  <a:pt x="8590527" y="378725"/>
                  <a:pt x="8590527" y="378725"/>
                </a:cubicBezTo>
                <a:cubicBezTo>
                  <a:pt x="8590527" y="354233"/>
                  <a:pt x="8600052" y="335863"/>
                  <a:pt x="8619102" y="335863"/>
                </a:cubicBezTo>
                <a:close/>
                <a:moveTo>
                  <a:pt x="7121217" y="308875"/>
                </a:moveTo>
                <a:cubicBezTo>
                  <a:pt x="7149078" y="410475"/>
                  <a:pt x="7149078" y="410475"/>
                  <a:pt x="7149078" y="410475"/>
                </a:cubicBezTo>
                <a:cubicBezTo>
                  <a:pt x="7087165" y="410475"/>
                  <a:pt x="7087165" y="410475"/>
                  <a:pt x="7087165" y="410475"/>
                </a:cubicBezTo>
                <a:cubicBezTo>
                  <a:pt x="7121217" y="308875"/>
                  <a:pt x="7121217" y="308875"/>
                  <a:pt x="7121217" y="308875"/>
                </a:cubicBezTo>
                <a:close/>
                <a:moveTo>
                  <a:pt x="7471280" y="305701"/>
                </a:moveTo>
                <a:cubicBezTo>
                  <a:pt x="7471280" y="336410"/>
                  <a:pt x="7471280" y="336410"/>
                  <a:pt x="7471280" y="336410"/>
                </a:cubicBezTo>
                <a:cubicBezTo>
                  <a:pt x="7539787" y="336410"/>
                  <a:pt x="7539787" y="336410"/>
                  <a:pt x="7539787" y="336410"/>
                </a:cubicBezTo>
                <a:cubicBezTo>
                  <a:pt x="7474394" y="465388"/>
                  <a:pt x="7474394" y="465388"/>
                  <a:pt x="7474394" y="465388"/>
                </a:cubicBezTo>
                <a:cubicBezTo>
                  <a:pt x="7468166" y="477671"/>
                  <a:pt x="7468166" y="486884"/>
                  <a:pt x="7471280" y="493026"/>
                </a:cubicBezTo>
                <a:cubicBezTo>
                  <a:pt x="7608294" y="493026"/>
                  <a:pt x="7608294" y="493026"/>
                  <a:pt x="7608294" y="493026"/>
                </a:cubicBezTo>
                <a:cubicBezTo>
                  <a:pt x="7620749" y="493026"/>
                  <a:pt x="7630091" y="483813"/>
                  <a:pt x="7630091" y="471529"/>
                </a:cubicBezTo>
                <a:cubicBezTo>
                  <a:pt x="7630091" y="459246"/>
                  <a:pt x="7630091" y="459246"/>
                  <a:pt x="7630091" y="459246"/>
                </a:cubicBezTo>
                <a:cubicBezTo>
                  <a:pt x="7623863" y="462317"/>
                  <a:pt x="7614522" y="462317"/>
                  <a:pt x="7592724" y="462317"/>
                </a:cubicBezTo>
                <a:cubicBezTo>
                  <a:pt x="7549129" y="462317"/>
                  <a:pt x="7549129" y="462317"/>
                  <a:pt x="7549129" y="462317"/>
                </a:cubicBezTo>
                <a:cubicBezTo>
                  <a:pt x="7626977" y="305701"/>
                  <a:pt x="7626977" y="305701"/>
                  <a:pt x="7626977" y="305701"/>
                </a:cubicBezTo>
                <a:cubicBezTo>
                  <a:pt x="7471280" y="305701"/>
                  <a:pt x="7471280" y="305701"/>
                  <a:pt x="7471280" y="305701"/>
                </a:cubicBezTo>
                <a:close/>
                <a:moveTo>
                  <a:pt x="8622169" y="305700"/>
                </a:moveTo>
                <a:cubicBezTo>
                  <a:pt x="8566004" y="305700"/>
                  <a:pt x="8525441" y="342551"/>
                  <a:pt x="8525441" y="397827"/>
                </a:cubicBezTo>
                <a:cubicBezTo>
                  <a:pt x="8525441" y="453103"/>
                  <a:pt x="8562884" y="493025"/>
                  <a:pt x="8619049" y="493025"/>
                </a:cubicBezTo>
                <a:cubicBezTo>
                  <a:pt x="8675213" y="493025"/>
                  <a:pt x="8697055" y="462316"/>
                  <a:pt x="8697055" y="434678"/>
                </a:cubicBezTo>
                <a:cubicBezTo>
                  <a:pt x="8684574" y="443891"/>
                  <a:pt x="8665853" y="450033"/>
                  <a:pt x="8644011" y="450033"/>
                </a:cubicBezTo>
                <a:cubicBezTo>
                  <a:pt x="8612808" y="450033"/>
                  <a:pt x="8590966" y="431607"/>
                  <a:pt x="8590966" y="403969"/>
                </a:cubicBezTo>
                <a:cubicBezTo>
                  <a:pt x="8706416" y="403969"/>
                  <a:pt x="8706416" y="403969"/>
                  <a:pt x="8706416" y="403969"/>
                </a:cubicBezTo>
                <a:cubicBezTo>
                  <a:pt x="8706416" y="394756"/>
                  <a:pt x="8706416" y="388615"/>
                  <a:pt x="8706416" y="382473"/>
                </a:cubicBezTo>
                <a:cubicBezTo>
                  <a:pt x="8706416" y="339480"/>
                  <a:pt x="8675213" y="305700"/>
                  <a:pt x="8622169" y="305700"/>
                </a:cubicBezTo>
                <a:close/>
                <a:moveTo>
                  <a:pt x="8195215" y="305700"/>
                </a:moveTo>
                <a:cubicBezTo>
                  <a:pt x="8139002" y="305700"/>
                  <a:pt x="8098403" y="342551"/>
                  <a:pt x="8098403" y="403969"/>
                </a:cubicBezTo>
                <a:cubicBezTo>
                  <a:pt x="8098403" y="456174"/>
                  <a:pt x="8139002" y="493025"/>
                  <a:pt x="8192092" y="493025"/>
                </a:cubicBezTo>
                <a:cubicBezTo>
                  <a:pt x="8245182" y="493025"/>
                  <a:pt x="8288903" y="456174"/>
                  <a:pt x="8288903" y="394756"/>
                </a:cubicBezTo>
                <a:cubicBezTo>
                  <a:pt x="8288903" y="342551"/>
                  <a:pt x="8248305" y="305700"/>
                  <a:pt x="8195215" y="305700"/>
                </a:cubicBezTo>
                <a:close/>
                <a:moveTo>
                  <a:pt x="7739629" y="305700"/>
                </a:moveTo>
                <a:cubicBezTo>
                  <a:pt x="7686497" y="305700"/>
                  <a:pt x="7639616" y="342551"/>
                  <a:pt x="7639616" y="403969"/>
                </a:cubicBezTo>
                <a:cubicBezTo>
                  <a:pt x="7639616" y="456175"/>
                  <a:pt x="7686497" y="493025"/>
                  <a:pt x="7739629" y="493025"/>
                </a:cubicBezTo>
                <a:cubicBezTo>
                  <a:pt x="7792760" y="493025"/>
                  <a:pt x="7839641" y="456175"/>
                  <a:pt x="7839641" y="394757"/>
                </a:cubicBezTo>
                <a:cubicBezTo>
                  <a:pt x="7839641" y="342551"/>
                  <a:pt x="7795886" y="305700"/>
                  <a:pt x="7739629" y="305700"/>
                </a:cubicBezTo>
                <a:close/>
                <a:moveTo>
                  <a:pt x="7102867" y="256489"/>
                </a:moveTo>
                <a:cubicBezTo>
                  <a:pt x="7018903" y="493026"/>
                  <a:pt x="7018903" y="493026"/>
                  <a:pt x="7018903" y="493026"/>
                </a:cubicBezTo>
                <a:cubicBezTo>
                  <a:pt x="7056220" y="493026"/>
                  <a:pt x="7056220" y="493026"/>
                  <a:pt x="7056220" y="493026"/>
                </a:cubicBezTo>
                <a:cubicBezTo>
                  <a:pt x="7077989" y="434659"/>
                  <a:pt x="7077989" y="434659"/>
                  <a:pt x="7077989" y="434659"/>
                </a:cubicBezTo>
                <a:cubicBezTo>
                  <a:pt x="7158843" y="434659"/>
                  <a:pt x="7158843" y="434659"/>
                  <a:pt x="7158843" y="434659"/>
                </a:cubicBezTo>
                <a:cubicBezTo>
                  <a:pt x="7171282" y="471522"/>
                  <a:pt x="7171282" y="471522"/>
                  <a:pt x="7171282" y="471522"/>
                </a:cubicBezTo>
                <a:cubicBezTo>
                  <a:pt x="7177501" y="486882"/>
                  <a:pt x="7180611" y="493026"/>
                  <a:pt x="7196160" y="493026"/>
                </a:cubicBezTo>
                <a:cubicBezTo>
                  <a:pt x="7245916" y="493026"/>
                  <a:pt x="7245916" y="493026"/>
                  <a:pt x="7245916" y="493026"/>
                </a:cubicBezTo>
                <a:cubicBezTo>
                  <a:pt x="7245916" y="489954"/>
                  <a:pt x="7242806" y="486882"/>
                  <a:pt x="7239697" y="477666"/>
                </a:cubicBezTo>
                <a:cubicBezTo>
                  <a:pt x="7180611" y="290280"/>
                  <a:pt x="7180611" y="290280"/>
                  <a:pt x="7180611" y="290280"/>
                </a:cubicBezTo>
                <a:cubicBezTo>
                  <a:pt x="7171282" y="268776"/>
                  <a:pt x="7161953" y="256489"/>
                  <a:pt x="7133965" y="256489"/>
                </a:cubicBezTo>
                <a:cubicBezTo>
                  <a:pt x="7102867" y="256489"/>
                  <a:pt x="7102867" y="256489"/>
                  <a:pt x="7102867" y="256489"/>
                </a:cubicBezTo>
                <a:close/>
                <a:moveTo>
                  <a:pt x="7866628" y="256488"/>
                </a:moveTo>
                <a:cubicBezTo>
                  <a:pt x="7866628" y="493025"/>
                  <a:pt x="7866628" y="493025"/>
                  <a:pt x="7866628" y="493025"/>
                </a:cubicBezTo>
                <a:cubicBezTo>
                  <a:pt x="7907268" y="493025"/>
                  <a:pt x="7907268" y="493025"/>
                  <a:pt x="7907268" y="493025"/>
                </a:cubicBezTo>
                <a:cubicBezTo>
                  <a:pt x="7907268" y="345574"/>
                  <a:pt x="7907268" y="345574"/>
                  <a:pt x="7907268" y="345574"/>
                </a:cubicBezTo>
                <a:cubicBezTo>
                  <a:pt x="8004179" y="462306"/>
                  <a:pt x="8004179" y="462306"/>
                  <a:pt x="8004179" y="462306"/>
                </a:cubicBezTo>
                <a:cubicBezTo>
                  <a:pt x="8016684" y="480738"/>
                  <a:pt x="8026062" y="493025"/>
                  <a:pt x="8041693" y="493025"/>
                </a:cubicBezTo>
                <a:cubicBezTo>
                  <a:pt x="8069828" y="493025"/>
                  <a:pt x="8069828" y="493025"/>
                  <a:pt x="8069828" y="493025"/>
                </a:cubicBezTo>
                <a:cubicBezTo>
                  <a:pt x="8069828" y="277992"/>
                  <a:pt x="8069828" y="277992"/>
                  <a:pt x="8069828" y="277992"/>
                </a:cubicBezTo>
                <a:cubicBezTo>
                  <a:pt x="8069828" y="265704"/>
                  <a:pt x="8060450" y="256488"/>
                  <a:pt x="8047945" y="256488"/>
                </a:cubicBezTo>
                <a:cubicBezTo>
                  <a:pt x="8029188" y="256488"/>
                  <a:pt x="8029188" y="256488"/>
                  <a:pt x="8029188" y="256488"/>
                </a:cubicBezTo>
                <a:cubicBezTo>
                  <a:pt x="8029188" y="400868"/>
                  <a:pt x="8029188" y="400868"/>
                  <a:pt x="8029188" y="400868"/>
                </a:cubicBezTo>
                <a:cubicBezTo>
                  <a:pt x="7938530" y="284136"/>
                  <a:pt x="7938530" y="284136"/>
                  <a:pt x="7938530" y="284136"/>
                </a:cubicBezTo>
                <a:cubicBezTo>
                  <a:pt x="7922899" y="268776"/>
                  <a:pt x="7916647" y="256488"/>
                  <a:pt x="7894764" y="256488"/>
                </a:cubicBezTo>
                <a:cubicBezTo>
                  <a:pt x="7866628" y="256488"/>
                  <a:pt x="7866628" y="256488"/>
                  <a:pt x="7866628" y="256488"/>
                </a:cubicBezTo>
                <a:close/>
                <a:moveTo>
                  <a:pt x="8738166" y="237438"/>
                </a:moveTo>
                <a:cubicBezTo>
                  <a:pt x="8738166" y="493025"/>
                  <a:pt x="8738166" y="493025"/>
                  <a:pt x="8738166" y="493025"/>
                </a:cubicBezTo>
                <a:cubicBezTo>
                  <a:pt x="8793729" y="493025"/>
                  <a:pt x="8793729" y="493025"/>
                  <a:pt x="8793729" y="493025"/>
                </a:cubicBezTo>
                <a:cubicBezTo>
                  <a:pt x="8793729" y="274390"/>
                  <a:pt x="8793729" y="274390"/>
                  <a:pt x="8793729" y="274390"/>
                </a:cubicBezTo>
                <a:cubicBezTo>
                  <a:pt x="8793729" y="252835"/>
                  <a:pt x="8778295" y="237438"/>
                  <a:pt x="8759774" y="237438"/>
                </a:cubicBezTo>
                <a:cubicBezTo>
                  <a:pt x="8738166" y="237438"/>
                  <a:pt x="8738166" y="237438"/>
                  <a:pt x="8738166" y="237438"/>
                </a:cubicBezTo>
                <a:close/>
                <a:moveTo>
                  <a:pt x="8315891" y="237438"/>
                </a:moveTo>
                <a:cubicBezTo>
                  <a:pt x="8315891" y="493025"/>
                  <a:pt x="8315891" y="493025"/>
                  <a:pt x="8315891" y="493025"/>
                </a:cubicBezTo>
                <a:cubicBezTo>
                  <a:pt x="8393965" y="493025"/>
                  <a:pt x="8393965" y="493025"/>
                  <a:pt x="8393965" y="493025"/>
                </a:cubicBezTo>
                <a:cubicBezTo>
                  <a:pt x="8465793" y="493025"/>
                  <a:pt x="8506391" y="456073"/>
                  <a:pt x="8506391" y="388327"/>
                </a:cubicBezTo>
                <a:cubicBezTo>
                  <a:pt x="8506391" y="342136"/>
                  <a:pt x="8475161" y="308263"/>
                  <a:pt x="8431440" y="308263"/>
                </a:cubicBezTo>
                <a:cubicBezTo>
                  <a:pt x="8409580" y="308263"/>
                  <a:pt x="8390842" y="317502"/>
                  <a:pt x="8381473" y="326740"/>
                </a:cubicBezTo>
                <a:cubicBezTo>
                  <a:pt x="8381473" y="274391"/>
                  <a:pt x="8381473" y="274391"/>
                  <a:pt x="8381473" y="274391"/>
                </a:cubicBezTo>
                <a:cubicBezTo>
                  <a:pt x="8381473" y="252835"/>
                  <a:pt x="8362735" y="237438"/>
                  <a:pt x="8340875" y="237438"/>
                </a:cubicBezTo>
                <a:cubicBezTo>
                  <a:pt x="8315891" y="237438"/>
                  <a:pt x="8315891" y="237438"/>
                  <a:pt x="8315891" y="237438"/>
                </a:cubicBezTo>
                <a:close/>
                <a:moveTo>
                  <a:pt x="7268141" y="237438"/>
                </a:moveTo>
                <a:cubicBezTo>
                  <a:pt x="7268141" y="493025"/>
                  <a:pt x="7268141" y="493025"/>
                  <a:pt x="7268141" y="493025"/>
                </a:cubicBezTo>
                <a:cubicBezTo>
                  <a:pt x="7333229" y="493025"/>
                  <a:pt x="7333229" y="493025"/>
                  <a:pt x="7333229" y="493025"/>
                </a:cubicBezTo>
                <a:cubicBezTo>
                  <a:pt x="7333229" y="465696"/>
                  <a:pt x="7333229" y="441783"/>
                  <a:pt x="7333229" y="420859"/>
                </a:cubicBezTo>
                <a:lnTo>
                  <a:pt x="7333229" y="394758"/>
                </a:lnTo>
                <a:lnTo>
                  <a:pt x="7354980" y="433815"/>
                </a:lnTo>
                <a:cubicBezTo>
                  <a:pt x="7370852" y="462317"/>
                  <a:pt x="7370852" y="462317"/>
                  <a:pt x="7370852" y="462317"/>
                </a:cubicBezTo>
                <a:cubicBezTo>
                  <a:pt x="7380258" y="483813"/>
                  <a:pt x="7383393" y="493026"/>
                  <a:pt x="7405341" y="493026"/>
                </a:cubicBezTo>
                <a:cubicBezTo>
                  <a:pt x="7458641" y="493026"/>
                  <a:pt x="7458641" y="493026"/>
                  <a:pt x="7458641" y="493026"/>
                </a:cubicBezTo>
                <a:cubicBezTo>
                  <a:pt x="7455506" y="489955"/>
                  <a:pt x="7452371" y="486884"/>
                  <a:pt x="7446100" y="477671"/>
                </a:cubicBezTo>
                <a:cubicBezTo>
                  <a:pt x="7395935" y="379402"/>
                  <a:pt x="7395935" y="379402"/>
                  <a:pt x="7395935" y="379402"/>
                </a:cubicBezTo>
                <a:cubicBezTo>
                  <a:pt x="7455506" y="305701"/>
                  <a:pt x="7455506" y="305701"/>
                  <a:pt x="7455506" y="305701"/>
                </a:cubicBezTo>
                <a:cubicBezTo>
                  <a:pt x="7402205" y="305701"/>
                  <a:pt x="7402205" y="305701"/>
                  <a:pt x="7402205" y="305701"/>
                </a:cubicBezTo>
                <a:cubicBezTo>
                  <a:pt x="7350473" y="372493"/>
                  <a:pt x="7337539" y="389191"/>
                  <a:pt x="7334306" y="393365"/>
                </a:cubicBezTo>
                <a:lnTo>
                  <a:pt x="7333229" y="394755"/>
                </a:lnTo>
                <a:lnTo>
                  <a:pt x="7333229" y="366627"/>
                </a:lnTo>
                <a:cubicBezTo>
                  <a:pt x="7333229" y="274391"/>
                  <a:pt x="7333229" y="274391"/>
                  <a:pt x="7333229" y="274391"/>
                </a:cubicBezTo>
                <a:cubicBezTo>
                  <a:pt x="7333229" y="252835"/>
                  <a:pt x="7314633" y="237438"/>
                  <a:pt x="7289837" y="237438"/>
                </a:cubicBezTo>
                <a:cubicBezTo>
                  <a:pt x="7268141" y="237438"/>
                  <a:pt x="7268141" y="237438"/>
                  <a:pt x="7268141" y="237438"/>
                </a:cubicBezTo>
                <a:close/>
                <a:moveTo>
                  <a:pt x="8932543" y="0"/>
                </a:moveTo>
                <a:lnTo>
                  <a:pt x="9143999" y="0"/>
                </a:lnTo>
                <a:lnTo>
                  <a:pt x="9143999" y="5144400"/>
                </a:lnTo>
                <a:lnTo>
                  <a:pt x="9027314" y="5144400"/>
                </a:lnTo>
                <a:lnTo>
                  <a:pt x="9009627" y="5144400"/>
                </a:lnTo>
                <a:lnTo>
                  <a:pt x="8932543" y="5144400"/>
                </a:lnTo>
                <a:lnTo>
                  <a:pt x="8853155" y="5144400"/>
                </a:lnTo>
                <a:lnTo>
                  <a:pt x="0" y="5144400"/>
                </a:lnTo>
                <a:lnTo>
                  <a:pt x="0" y="902"/>
                </a:lnTo>
                <a:lnTo>
                  <a:pt x="8853155" y="902"/>
                </a:lnTo>
                <a:lnTo>
                  <a:pt x="8853155" y="900"/>
                </a:lnTo>
                <a:lnTo>
                  <a:pt x="8932543" y="900"/>
                </a:lnTo>
                <a:close/>
              </a:path>
            </a:pathLst>
          </a:custGeom>
          <a:solidFill>
            <a:srgbClr val="B9C9D0">
              <a:alpha val="50000"/>
            </a:srgbClr>
          </a:solidFill>
        </p:spPr>
        <p:txBody>
          <a:bodyPr wrap="square" bIns="720000" anchor="ctr" anchorCtr="0">
            <a:noAutofit/>
          </a:bodyPr>
          <a:lstStyle>
            <a:lvl1pPr algn="ctr">
              <a:defRPr sz="1200"/>
            </a:lvl1pPr>
          </a:lstStyle>
          <a:p>
            <a:r>
              <a:rPr lang="en-US" noProof="0"/>
              <a:t>Click icon to add picture</a:t>
            </a:r>
            <a:endParaRPr lang="en-US" noProof="0" dirty="0"/>
          </a:p>
        </p:txBody>
      </p:sp>
      <p:graphicFrame>
        <p:nvGraphicFramePr>
          <p:cNvPr id="24" name="Object 2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24" name="Object 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8" name="Group 27"/>
          <p:cNvGrpSpPr/>
          <p:nvPr/>
        </p:nvGrpSpPr>
        <p:grpSpPr bwMode="gray">
          <a:xfrm>
            <a:off x="9286875" y="182684"/>
            <a:ext cx="1581150" cy="3229876"/>
            <a:chOff x="9286875" y="182684"/>
            <a:chExt cx="1581150" cy="3229876"/>
          </a:xfrm>
        </p:grpSpPr>
        <p:sp>
          <p:nvSpPr>
            <p:cNvPr id="29" name="Rectangle 28"/>
            <p:cNvSpPr/>
            <p:nvPr/>
          </p:nvSpPr>
          <p:spPr bwMode="gray">
            <a:xfrm>
              <a:off x="9288779" y="182684"/>
              <a:ext cx="1579245"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dirty="0">
                  <a:solidFill>
                    <a:schemeClr val="tx1"/>
                  </a:solidFill>
                </a:rPr>
                <a:t>Crop picture</a:t>
              </a:r>
            </a:p>
            <a:p>
              <a:pPr algn="l"/>
              <a:r>
                <a:rPr lang="en-US" sz="900" b="0" dirty="0">
                  <a:solidFill>
                    <a:schemeClr val="tx1"/>
                  </a:solidFill>
                </a:rPr>
                <a:t>Select picture &gt; click</a:t>
              </a:r>
              <a:r>
                <a:rPr lang="en-US" sz="900" b="0" baseline="0" dirty="0">
                  <a:solidFill>
                    <a:schemeClr val="tx1"/>
                  </a:solidFill>
                </a:rPr>
                <a:t> on tab “Picture Tools &gt; Format”</a:t>
              </a:r>
              <a:endParaRPr lang="en-US" sz="900" b="0" dirty="0">
                <a:solidFill>
                  <a:schemeClr val="tx1"/>
                </a:solidFill>
              </a:endParaRPr>
            </a:p>
          </p:txBody>
        </p:sp>
        <p:sp>
          <p:nvSpPr>
            <p:cNvPr id="30" name="Rectangle 29"/>
            <p:cNvSpPr/>
            <p:nvPr/>
          </p:nvSpPr>
          <p:spPr bwMode="gray">
            <a:xfrm>
              <a:off x="9288780" y="1261435"/>
              <a:ext cx="1579244" cy="1662924"/>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dirty="0">
                  <a:solidFill>
                    <a:schemeClr val="tx1"/>
                  </a:solidFill>
                </a:rPr>
                <a:t>Click</a:t>
              </a:r>
              <a:r>
                <a:rPr lang="en-US" sz="900" b="0" baseline="0" dirty="0">
                  <a:solidFill>
                    <a:schemeClr val="tx1"/>
                  </a:solidFill>
                </a:rPr>
                <a:t> on the icon </a:t>
              </a:r>
              <a:br>
                <a:rPr lang="en-US" sz="900" b="0" baseline="0" dirty="0">
                  <a:solidFill>
                    <a:schemeClr val="tx1"/>
                  </a:solidFill>
                </a:rPr>
              </a:br>
              <a:r>
                <a:rPr lang="en-US" sz="900" b="0" baseline="0" dirty="0">
                  <a:solidFill>
                    <a:schemeClr val="tx1"/>
                  </a:solidFill>
                </a:rPr>
                <a:t>above “Crop”</a:t>
              </a:r>
            </a:p>
            <a:p>
              <a:pPr algn="l"/>
              <a:endParaRPr lang="en-US" sz="900" b="0" baseline="0" dirty="0">
                <a:solidFill>
                  <a:schemeClr val="tx1"/>
                </a:solidFill>
              </a:endParaRPr>
            </a:p>
            <a:p>
              <a:pPr algn="l"/>
              <a:r>
                <a:rPr lang="en-US" sz="900" b="0" baseline="0" dirty="0">
                  <a:solidFill>
                    <a:schemeClr val="tx1"/>
                  </a:solidFill>
                </a:rPr>
                <a:t>You will see crop and scale markers on the corners</a:t>
              </a:r>
              <a:endParaRPr lang="en-US" sz="900" b="0" dirty="0">
                <a:solidFill>
                  <a:schemeClr val="tx1"/>
                </a:solidFill>
              </a:endParaRPr>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35" name="Picture 34"/>
            <p:cNvPicPr>
              <a:picLocks noChangeAspect="1"/>
            </p:cNvPicPr>
            <p:nvPr/>
          </p:nvPicPr>
          <p:blipFill rotWithShape="1">
            <a:blip r:embed="rId7">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36" name="Picture 35"/>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37" name="Picture 36"/>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38" name="Rectangle 37"/>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39" name="Rectangle 38"/>
            <p:cNvSpPr/>
            <p:nvPr/>
          </p:nvSpPr>
          <p:spPr bwMode="gray">
            <a:xfrm>
              <a:off x="9288780" y="2924359"/>
              <a:ext cx="1579244"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dirty="0">
                  <a:solidFill>
                    <a:schemeClr val="tx1"/>
                  </a:solidFill>
                </a:rPr>
                <a:t>Use the “circular scale icon” to scale your picture within the cropped region.</a:t>
              </a:r>
            </a:p>
          </p:txBody>
        </p:sp>
        <p:cxnSp>
          <p:nvCxnSpPr>
            <p:cNvPr id="40" name="Straight Arrow Connector 39"/>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1" idx="0"/>
              <a:endCxn id="31" idx="2"/>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31" idx="3"/>
              <a:endCxn id="31" idx="1"/>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Oval 63"/>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sp>
        <p:nvSpPr>
          <p:cNvPr id="43" name="Text Placeholder 30"/>
          <p:cNvSpPr>
            <a:spLocks noGrp="1"/>
          </p:cNvSpPr>
          <p:nvPr>
            <p:ph type="body" sz="quarter" idx="14" hasCustomPrompt="1"/>
          </p:nvPr>
        </p:nvSpPr>
        <p:spPr bwMode="gray">
          <a:xfrm>
            <a:off x="352424" y="2353816"/>
            <a:ext cx="1629285" cy="1629285"/>
          </a:xfrm>
          <a:prstGeom prst="snip2DiagRect">
            <a:avLst>
              <a:gd name="adj1" fmla="val 15395"/>
              <a:gd name="adj2" fmla="val 0"/>
            </a:avLst>
          </a:prstGeom>
          <a:solidFill>
            <a:schemeClr val="accent1">
              <a:alpha val="90000"/>
            </a:schemeClr>
          </a:solidFill>
        </p:spPr>
        <p:txBody>
          <a:bodyPr lIns="90000" tIns="36000" rIns="0" bIns="576000"/>
          <a:lstStyle>
            <a:lvl1pPr algn="l">
              <a:lnSpc>
                <a:spcPct val="80000"/>
              </a:lnSpc>
              <a:spcBef>
                <a:spcPts val="0"/>
              </a:spcBef>
              <a:spcAft>
                <a:spcPts val="0"/>
              </a:spcAft>
              <a:defRPr sz="1400" b="1">
                <a:solidFill>
                  <a:schemeClr val="bg1"/>
                </a:solidFill>
              </a:defRPr>
            </a:lvl1pPr>
            <a:lvl2pPr marL="0" indent="0" algn="l">
              <a:lnSpc>
                <a:spcPct val="100000"/>
              </a:lnSpc>
              <a:spcBef>
                <a:spcPts val="0"/>
              </a:spcBef>
              <a:spcAft>
                <a:spcPts val="0"/>
              </a:spcAft>
              <a:buFontTx/>
              <a:buNone/>
              <a:defRPr sz="1400">
                <a:solidFill>
                  <a:schemeClr val="bg1"/>
                </a:solidFill>
              </a:defRPr>
            </a:lvl2pPr>
            <a:lvl3pPr marL="0" algn="l">
              <a:lnSpc>
                <a:spcPct val="100000"/>
              </a:lnSpc>
              <a:spcBef>
                <a:spcPts val="0"/>
              </a:spcBef>
              <a:spcAft>
                <a:spcPts val="0"/>
              </a:spcAft>
              <a:buClr>
                <a:schemeClr val="bg1"/>
              </a:buClr>
              <a:defRPr sz="1400" baseline="0">
                <a:solidFill>
                  <a:schemeClr val="bg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dirty="0"/>
              <a:t>Item 1</a:t>
            </a:r>
          </a:p>
          <a:p>
            <a:pPr lvl="1"/>
            <a:r>
              <a:rPr lang="en-US" dirty="0"/>
              <a:t>Lorem ipsum</a:t>
            </a:r>
          </a:p>
          <a:p>
            <a:pPr lvl="2"/>
            <a:r>
              <a:rPr lang="en-US" dirty="0"/>
              <a:t>Dolor sit </a:t>
            </a:r>
            <a:r>
              <a:rPr lang="en-US" dirty="0" err="1"/>
              <a:t>amet</a:t>
            </a:r>
            <a:endParaRPr lang="en-US" dirty="0"/>
          </a:p>
        </p:txBody>
      </p:sp>
      <p:sp>
        <p:nvSpPr>
          <p:cNvPr id="44" name="Text Placeholder 30"/>
          <p:cNvSpPr>
            <a:spLocks noGrp="1"/>
          </p:cNvSpPr>
          <p:nvPr>
            <p:ph type="body" sz="quarter" idx="18" hasCustomPrompt="1"/>
          </p:nvPr>
        </p:nvSpPr>
        <p:spPr bwMode="gray">
          <a:xfrm>
            <a:off x="2623593" y="2353816"/>
            <a:ext cx="1629285" cy="1629285"/>
          </a:xfrm>
          <a:prstGeom prst="snip2DiagRect">
            <a:avLst>
              <a:gd name="adj1" fmla="val 15589"/>
              <a:gd name="adj2" fmla="val 0"/>
            </a:avLst>
          </a:prstGeom>
          <a:solidFill>
            <a:schemeClr val="accent2">
              <a:alpha val="90000"/>
            </a:schemeClr>
          </a:solidFill>
        </p:spPr>
        <p:txBody>
          <a:bodyPr lIns="90000" tIns="36000" rIns="0" bIns="576000"/>
          <a:lstStyle>
            <a:lvl1pPr algn="l">
              <a:lnSpc>
                <a:spcPct val="80000"/>
              </a:lnSpc>
              <a:spcBef>
                <a:spcPts val="0"/>
              </a:spcBef>
              <a:spcAft>
                <a:spcPts val="0"/>
              </a:spcAft>
              <a:defRPr sz="1400" b="1">
                <a:solidFill>
                  <a:schemeClr val="bg1"/>
                </a:solidFill>
              </a:defRPr>
            </a:lvl1pPr>
            <a:lvl2pPr marL="0" indent="0" algn="l">
              <a:lnSpc>
                <a:spcPct val="100000"/>
              </a:lnSpc>
              <a:spcBef>
                <a:spcPts val="0"/>
              </a:spcBef>
              <a:spcAft>
                <a:spcPts val="0"/>
              </a:spcAft>
              <a:buFontTx/>
              <a:buNone/>
              <a:defRPr sz="1400">
                <a:solidFill>
                  <a:schemeClr val="bg1"/>
                </a:solidFill>
              </a:defRPr>
            </a:lvl2pPr>
            <a:lvl3pPr marL="0" algn="l">
              <a:lnSpc>
                <a:spcPct val="100000"/>
              </a:lnSpc>
              <a:spcBef>
                <a:spcPts val="0"/>
              </a:spcBef>
              <a:spcAft>
                <a:spcPts val="0"/>
              </a:spcAft>
              <a:buClr>
                <a:schemeClr val="bg1"/>
              </a:buClr>
              <a:defRPr sz="1400">
                <a:solidFill>
                  <a:schemeClr val="bg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dirty="0"/>
              <a:t>Item 2</a:t>
            </a:r>
          </a:p>
          <a:p>
            <a:pPr lvl="1"/>
            <a:r>
              <a:rPr lang="en-US" dirty="0"/>
              <a:t>Lorem ipsum</a:t>
            </a:r>
          </a:p>
          <a:p>
            <a:pPr lvl="2"/>
            <a:r>
              <a:rPr lang="en-US" dirty="0"/>
              <a:t>Dolor sit </a:t>
            </a:r>
            <a:r>
              <a:rPr lang="en-US" dirty="0" err="1"/>
              <a:t>amet</a:t>
            </a:r>
            <a:endParaRPr lang="en-US" dirty="0"/>
          </a:p>
        </p:txBody>
      </p:sp>
      <p:sp>
        <p:nvSpPr>
          <p:cNvPr id="55" name="Text Placeholder 30"/>
          <p:cNvSpPr>
            <a:spLocks noGrp="1"/>
          </p:cNvSpPr>
          <p:nvPr>
            <p:ph type="body" sz="quarter" idx="19" hasCustomPrompt="1"/>
          </p:nvPr>
        </p:nvSpPr>
        <p:spPr bwMode="gray">
          <a:xfrm>
            <a:off x="4894762" y="2353816"/>
            <a:ext cx="1629285" cy="1629285"/>
          </a:xfrm>
          <a:prstGeom prst="snip2DiagRect">
            <a:avLst>
              <a:gd name="adj1" fmla="val 15394"/>
              <a:gd name="adj2" fmla="val 0"/>
            </a:avLst>
          </a:prstGeom>
          <a:solidFill>
            <a:schemeClr val="accent3">
              <a:alpha val="90000"/>
            </a:schemeClr>
          </a:solidFill>
        </p:spPr>
        <p:txBody>
          <a:bodyPr lIns="90000" tIns="36000" rIns="0" bIns="576000"/>
          <a:lstStyle>
            <a:lvl1pPr algn="l">
              <a:lnSpc>
                <a:spcPct val="80000"/>
              </a:lnSpc>
              <a:spcBef>
                <a:spcPts val="0"/>
              </a:spcBef>
              <a:spcAft>
                <a:spcPts val="0"/>
              </a:spcAft>
              <a:defRPr sz="1400" b="1">
                <a:solidFill>
                  <a:schemeClr val="bg1"/>
                </a:solidFill>
              </a:defRPr>
            </a:lvl1pPr>
            <a:lvl2pPr marL="0" indent="0" algn="l">
              <a:lnSpc>
                <a:spcPct val="100000"/>
              </a:lnSpc>
              <a:spcBef>
                <a:spcPts val="0"/>
              </a:spcBef>
              <a:spcAft>
                <a:spcPts val="0"/>
              </a:spcAft>
              <a:buFontTx/>
              <a:buNone/>
              <a:defRPr sz="1400">
                <a:solidFill>
                  <a:schemeClr val="bg1"/>
                </a:solidFill>
              </a:defRPr>
            </a:lvl2pPr>
            <a:lvl3pPr marL="0" algn="l">
              <a:lnSpc>
                <a:spcPct val="100000"/>
              </a:lnSpc>
              <a:spcBef>
                <a:spcPts val="0"/>
              </a:spcBef>
              <a:spcAft>
                <a:spcPts val="0"/>
              </a:spcAft>
              <a:buClr>
                <a:schemeClr val="bg1"/>
              </a:buClr>
              <a:defRPr sz="1400">
                <a:solidFill>
                  <a:schemeClr val="bg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dirty="0"/>
              <a:t>Item 3</a:t>
            </a:r>
          </a:p>
          <a:p>
            <a:pPr lvl="1"/>
            <a:r>
              <a:rPr lang="en-US" dirty="0"/>
              <a:t>Lorem ipsum</a:t>
            </a:r>
          </a:p>
          <a:p>
            <a:pPr lvl="2"/>
            <a:r>
              <a:rPr lang="en-US" dirty="0"/>
              <a:t>Dolor sit </a:t>
            </a:r>
            <a:r>
              <a:rPr lang="en-US" dirty="0" err="1"/>
              <a:t>amet</a:t>
            </a:r>
            <a:endParaRPr lang="en-US" dirty="0"/>
          </a:p>
        </p:txBody>
      </p:sp>
      <p:sp>
        <p:nvSpPr>
          <p:cNvPr id="56" name="Text Placeholder 30"/>
          <p:cNvSpPr>
            <a:spLocks noGrp="1"/>
          </p:cNvSpPr>
          <p:nvPr>
            <p:ph type="body" sz="quarter" idx="20" hasCustomPrompt="1"/>
          </p:nvPr>
        </p:nvSpPr>
        <p:spPr bwMode="gray">
          <a:xfrm>
            <a:off x="7165932" y="2353816"/>
            <a:ext cx="1629285" cy="1629285"/>
          </a:xfrm>
          <a:prstGeom prst="snip2DiagRect">
            <a:avLst>
              <a:gd name="adj1" fmla="val 15395"/>
              <a:gd name="adj2" fmla="val 0"/>
            </a:avLst>
          </a:prstGeom>
          <a:solidFill>
            <a:schemeClr val="accent4">
              <a:alpha val="90000"/>
            </a:schemeClr>
          </a:solidFill>
        </p:spPr>
        <p:txBody>
          <a:bodyPr lIns="90000" tIns="36000" rIns="0" bIns="576000"/>
          <a:lstStyle>
            <a:lvl1pPr algn="l">
              <a:lnSpc>
                <a:spcPct val="80000"/>
              </a:lnSpc>
              <a:spcBef>
                <a:spcPts val="0"/>
              </a:spcBef>
              <a:spcAft>
                <a:spcPts val="0"/>
              </a:spcAft>
              <a:defRPr sz="1400" b="1" baseline="0">
                <a:solidFill>
                  <a:schemeClr val="bg1"/>
                </a:solidFill>
              </a:defRPr>
            </a:lvl1pPr>
            <a:lvl2pPr marL="0" indent="0" algn="l">
              <a:lnSpc>
                <a:spcPct val="100000"/>
              </a:lnSpc>
              <a:spcBef>
                <a:spcPts val="0"/>
              </a:spcBef>
              <a:spcAft>
                <a:spcPts val="0"/>
              </a:spcAft>
              <a:buFontTx/>
              <a:buNone/>
              <a:defRPr sz="1400">
                <a:solidFill>
                  <a:schemeClr val="bg1"/>
                </a:solidFill>
              </a:defRPr>
            </a:lvl2pPr>
            <a:lvl3pPr marL="0" algn="l">
              <a:lnSpc>
                <a:spcPct val="100000"/>
              </a:lnSpc>
              <a:spcBef>
                <a:spcPts val="0"/>
              </a:spcBef>
              <a:spcAft>
                <a:spcPts val="0"/>
              </a:spcAft>
              <a:buClr>
                <a:schemeClr val="bg1"/>
              </a:buClr>
              <a:defRPr sz="1400">
                <a:solidFill>
                  <a:schemeClr val="bg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dirty="0"/>
              <a:t>Item 4</a:t>
            </a:r>
          </a:p>
          <a:p>
            <a:pPr lvl="1"/>
            <a:r>
              <a:rPr lang="en-US" dirty="0"/>
              <a:t>Lorem ipsum</a:t>
            </a:r>
          </a:p>
          <a:p>
            <a:pPr lvl="2"/>
            <a:r>
              <a:rPr lang="en-US" dirty="0"/>
              <a:t>Dolor sit </a:t>
            </a:r>
            <a:r>
              <a:rPr lang="en-US" dirty="0" err="1"/>
              <a:t>amet</a:t>
            </a:r>
            <a:endParaRPr lang="en-US" dirty="0"/>
          </a:p>
        </p:txBody>
      </p:sp>
      <p:sp>
        <p:nvSpPr>
          <p:cNvPr id="58" name="Picture Placeholder 13"/>
          <p:cNvSpPr>
            <a:spLocks noGrp="1"/>
          </p:cNvSpPr>
          <p:nvPr>
            <p:ph type="pic" sz="quarter" idx="23" hasCustomPrompt="1"/>
          </p:nvPr>
        </p:nvSpPr>
        <p:spPr bwMode="gray">
          <a:xfrm>
            <a:off x="352424" y="3443101"/>
            <a:ext cx="540000" cy="540000"/>
          </a:xfrm>
          <a:prstGeom prst="rect">
            <a:avLst/>
          </a:prstGeom>
          <a:noFill/>
        </p:spPr>
        <p:txBody>
          <a:bodyPr wrap="square" anchor="ctr" anchorCtr="0">
            <a:noAutofit/>
          </a:bodyPr>
          <a:lstStyle>
            <a:lvl1pPr algn="ctr">
              <a:defRPr sz="800" b="0">
                <a:solidFill>
                  <a:schemeClr val="bg1"/>
                </a:solidFill>
              </a:defRPr>
            </a:lvl1pPr>
          </a:lstStyle>
          <a:p>
            <a:r>
              <a:rPr lang="nl-NL" dirty="0"/>
              <a:t>Icon</a:t>
            </a:r>
            <a:endParaRPr lang="en-GB" dirty="0"/>
          </a:p>
        </p:txBody>
      </p:sp>
      <p:sp>
        <p:nvSpPr>
          <p:cNvPr id="59" name="Picture Placeholder 13"/>
          <p:cNvSpPr>
            <a:spLocks noGrp="1"/>
          </p:cNvSpPr>
          <p:nvPr>
            <p:ph type="pic" sz="quarter" idx="24" hasCustomPrompt="1"/>
          </p:nvPr>
        </p:nvSpPr>
        <p:spPr bwMode="gray">
          <a:xfrm>
            <a:off x="2623593" y="3443101"/>
            <a:ext cx="540000" cy="540000"/>
          </a:xfrm>
          <a:prstGeom prst="rect">
            <a:avLst/>
          </a:prstGeom>
          <a:noFill/>
        </p:spPr>
        <p:txBody>
          <a:bodyPr wrap="square" anchor="ctr" anchorCtr="0">
            <a:noAutofit/>
          </a:bodyPr>
          <a:lstStyle>
            <a:lvl1pPr algn="ctr">
              <a:defRPr sz="800" b="0">
                <a:solidFill>
                  <a:schemeClr val="bg1"/>
                </a:solidFill>
              </a:defRPr>
            </a:lvl1pPr>
          </a:lstStyle>
          <a:p>
            <a:r>
              <a:rPr lang="nl-NL" dirty="0"/>
              <a:t>Icon</a:t>
            </a:r>
            <a:endParaRPr lang="en-GB" dirty="0"/>
          </a:p>
        </p:txBody>
      </p:sp>
      <p:sp>
        <p:nvSpPr>
          <p:cNvPr id="60" name="Picture Placeholder 13"/>
          <p:cNvSpPr>
            <a:spLocks noGrp="1"/>
          </p:cNvSpPr>
          <p:nvPr>
            <p:ph type="pic" sz="quarter" idx="25" hasCustomPrompt="1"/>
          </p:nvPr>
        </p:nvSpPr>
        <p:spPr bwMode="gray">
          <a:xfrm>
            <a:off x="4894762" y="3443101"/>
            <a:ext cx="540000" cy="540000"/>
          </a:xfrm>
          <a:prstGeom prst="rect">
            <a:avLst/>
          </a:prstGeom>
          <a:noFill/>
        </p:spPr>
        <p:txBody>
          <a:bodyPr wrap="square" anchor="ctr" anchorCtr="0">
            <a:noAutofit/>
          </a:bodyPr>
          <a:lstStyle>
            <a:lvl1pPr algn="ctr">
              <a:defRPr sz="800" b="0">
                <a:solidFill>
                  <a:schemeClr val="bg1"/>
                </a:solidFill>
              </a:defRPr>
            </a:lvl1pPr>
          </a:lstStyle>
          <a:p>
            <a:r>
              <a:rPr lang="nl-NL" dirty="0"/>
              <a:t>Icon</a:t>
            </a:r>
            <a:endParaRPr lang="en-GB" dirty="0"/>
          </a:p>
        </p:txBody>
      </p:sp>
      <p:sp>
        <p:nvSpPr>
          <p:cNvPr id="61" name="Picture Placeholder 13"/>
          <p:cNvSpPr>
            <a:spLocks noGrp="1"/>
          </p:cNvSpPr>
          <p:nvPr>
            <p:ph type="pic" sz="quarter" idx="26" hasCustomPrompt="1"/>
          </p:nvPr>
        </p:nvSpPr>
        <p:spPr bwMode="gray">
          <a:xfrm>
            <a:off x="7165932" y="3443101"/>
            <a:ext cx="540000" cy="540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63" name="Text Placeholder 62"/>
          <p:cNvSpPr>
            <a:spLocks noGrp="1"/>
          </p:cNvSpPr>
          <p:nvPr>
            <p:ph type="body" sz="quarter" idx="28" hasCustomPrompt="1"/>
          </p:nvPr>
        </p:nvSpPr>
        <p:spPr bwMode="gray">
          <a:xfrm>
            <a:off x="0" y="-221258"/>
            <a:ext cx="36000" cy="36000"/>
          </a:xfrm>
          <a:custGeom>
            <a:avLst/>
            <a:gdLst>
              <a:gd name="connsiteX0" fmla="*/ 89445 w 360383"/>
              <a:gd name="connsiteY0" fmla="*/ 0 h 360000"/>
              <a:gd name="connsiteX1" fmla="*/ 360383 w 360383"/>
              <a:gd name="connsiteY1" fmla="*/ 0 h 360000"/>
              <a:gd name="connsiteX2" fmla="*/ 360383 w 360383"/>
              <a:gd name="connsiteY2" fmla="*/ 270162 h 360000"/>
              <a:gd name="connsiteX3" fmla="*/ 270938 w 360383"/>
              <a:gd name="connsiteY3" fmla="*/ 360000 h 360000"/>
              <a:gd name="connsiteX4" fmla="*/ 270938 w 360383"/>
              <a:gd name="connsiteY4" fmla="*/ 89189 h 360000"/>
              <a:gd name="connsiteX5" fmla="*/ 0 w 360383"/>
              <a:gd name="connsiteY5" fmla="*/ 89189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383" h="360000">
                <a:moveTo>
                  <a:pt x="89445" y="0"/>
                </a:moveTo>
                <a:lnTo>
                  <a:pt x="360383" y="0"/>
                </a:lnTo>
                <a:lnTo>
                  <a:pt x="360383" y="270162"/>
                </a:lnTo>
                <a:lnTo>
                  <a:pt x="270938" y="360000"/>
                </a:lnTo>
                <a:lnTo>
                  <a:pt x="270938" y="89189"/>
                </a:lnTo>
                <a:lnTo>
                  <a:pt x="0" y="89189"/>
                </a:lnTo>
                <a:close/>
              </a:path>
            </a:pathLst>
          </a:custGeom>
          <a:noFill/>
        </p:spPr>
        <p:txBody>
          <a:bodyPr wrap="square">
            <a:noAutofit/>
          </a:bodyPr>
          <a:lstStyle>
            <a:lvl1pPr>
              <a:defRPr/>
            </a:lvl1pPr>
          </a:lstStyle>
          <a:p>
            <a:pPr lvl="0"/>
            <a:r>
              <a:rPr lang="en-US"/>
              <a:t>  </a:t>
            </a:r>
            <a:endParaRPr lang="en-GB"/>
          </a:p>
        </p:txBody>
      </p:sp>
      <p:sp>
        <p:nvSpPr>
          <p:cNvPr id="2" name="Title 1"/>
          <p:cNvSpPr>
            <a:spLocks noGrp="1"/>
          </p:cNvSpPr>
          <p:nvPr>
            <p:ph type="title" hasCustomPrompt="1"/>
          </p:nvPr>
        </p:nvSpPr>
        <p:spPr bwMode="gray">
          <a:xfrm>
            <a:off x="352424" y="252000"/>
            <a:ext cx="4428000" cy="895662"/>
          </a:xfrm>
          <a:solidFill>
            <a:schemeClr val="bg1">
              <a:alpha val="90000"/>
            </a:schemeClr>
          </a:solidFill>
        </p:spPr>
        <p:txBody>
          <a:bodyPr wrap="square" lIns="100800" tIns="126000" rIns="100800" bIns="126000" anchor="t" anchorCtr="0">
            <a:noAutofit/>
          </a:bodyPr>
          <a:lstStyle>
            <a:lvl1pPr>
              <a:defRPr/>
            </a:lvl1pPr>
          </a:lstStyle>
          <a:p>
            <a:r>
              <a:rPr lang="en-US" dirty="0"/>
              <a:t>Click to edit Master title style </a:t>
            </a:r>
            <a:endParaRPr lang="nl-NL" dirty="0"/>
          </a:p>
        </p:txBody>
      </p:sp>
    </p:spTree>
    <p:extLst>
      <p:ext uri="{BB962C8B-B14F-4D97-AF65-F5344CB8AC3E}">
        <p14:creationId xmlns:p14="http://schemas.microsoft.com/office/powerpoint/2010/main" val="12539489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roduct brands">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983BDD78-F9D1-4F73-87BD-5EEE3037457D}"/>
              </a:ext>
            </a:extLst>
          </p:cNvPr>
          <p:cNvPicPr>
            <a:picLocks noChangeAspect="1"/>
          </p:cNvPicPr>
          <p:nvPr userDrawn="1"/>
        </p:nvPicPr>
        <p:blipFill>
          <a:blip r:embed="rId2"/>
          <a:stretch>
            <a:fillRect/>
          </a:stretch>
        </p:blipFill>
        <p:spPr>
          <a:xfrm>
            <a:off x="0" y="-762"/>
            <a:ext cx="9144000" cy="5145024"/>
          </a:xfrm>
          <a:prstGeom prst="rect">
            <a:avLst/>
          </a:prstGeom>
        </p:spPr>
      </p:pic>
      <p:sp>
        <p:nvSpPr>
          <p:cNvPr id="24" name="Freeform: Shape 23">
            <a:extLst>
              <a:ext uri="{FF2B5EF4-FFF2-40B4-BE49-F238E27FC236}">
                <a16:creationId xmlns:a16="http://schemas.microsoft.com/office/drawing/2014/main" id="{780BEE87-4835-4B9C-867B-245D16C29308}"/>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nvGrpSpPr>
          <p:cNvPr id="2" name="Group 1">
            <a:extLst>
              <a:ext uri="{FF2B5EF4-FFF2-40B4-BE49-F238E27FC236}">
                <a16:creationId xmlns:a16="http://schemas.microsoft.com/office/drawing/2014/main" id="{9F5FFC98-E819-458E-AD1E-039584C2A3C7}"/>
              </a:ext>
            </a:extLst>
          </p:cNvPr>
          <p:cNvGrpSpPr/>
          <p:nvPr userDrawn="1"/>
        </p:nvGrpSpPr>
        <p:grpSpPr>
          <a:xfrm>
            <a:off x="1236595" y="1554480"/>
            <a:ext cx="4925881" cy="2417913"/>
            <a:chOff x="1236595" y="1554480"/>
            <a:chExt cx="4925881" cy="2417913"/>
          </a:xfrm>
        </p:grpSpPr>
        <p:pic>
          <p:nvPicPr>
            <p:cNvPr id="5" name="Picture 4">
              <a:extLst>
                <a:ext uri="{FF2B5EF4-FFF2-40B4-BE49-F238E27FC236}">
                  <a16:creationId xmlns:a16="http://schemas.microsoft.com/office/drawing/2014/main" id="{11BD9814-0800-45B7-A273-C7E6F078BA9B}"/>
                </a:ext>
              </a:extLst>
            </p:cNvPr>
            <p:cNvPicPr>
              <a:picLocks noChangeAspect="1"/>
            </p:cNvPicPr>
            <p:nvPr userDrawn="1"/>
          </p:nvPicPr>
          <p:blipFill>
            <a:blip r:embed="rId3"/>
            <a:stretch>
              <a:fillRect/>
            </a:stretch>
          </p:blipFill>
          <p:spPr>
            <a:xfrm>
              <a:off x="4434944" y="3362574"/>
              <a:ext cx="1727532" cy="609819"/>
            </a:xfrm>
            <a:prstGeom prst="rect">
              <a:avLst/>
            </a:prstGeom>
          </p:spPr>
        </p:pic>
        <p:pic>
          <p:nvPicPr>
            <p:cNvPr id="6" name="Picture 5">
              <a:extLst>
                <a:ext uri="{FF2B5EF4-FFF2-40B4-BE49-F238E27FC236}">
                  <a16:creationId xmlns:a16="http://schemas.microsoft.com/office/drawing/2014/main" id="{7AE60973-F93F-4148-ACD2-54872AB3A6D7}"/>
                </a:ext>
              </a:extLst>
            </p:cNvPr>
            <p:cNvPicPr>
              <a:picLocks noChangeAspect="1"/>
            </p:cNvPicPr>
            <p:nvPr userDrawn="1"/>
          </p:nvPicPr>
          <p:blipFill>
            <a:blip r:embed="rId4"/>
            <a:stretch>
              <a:fillRect/>
            </a:stretch>
          </p:blipFill>
          <p:spPr>
            <a:xfrm>
              <a:off x="1251585" y="1554480"/>
              <a:ext cx="1642413" cy="1002150"/>
            </a:xfrm>
            <a:prstGeom prst="rect">
              <a:avLst/>
            </a:prstGeom>
          </p:spPr>
        </p:pic>
        <p:pic>
          <p:nvPicPr>
            <p:cNvPr id="7" name="Picture 6">
              <a:extLst>
                <a:ext uri="{FF2B5EF4-FFF2-40B4-BE49-F238E27FC236}">
                  <a16:creationId xmlns:a16="http://schemas.microsoft.com/office/drawing/2014/main" id="{D208BEBB-6114-4343-901C-738E6B22F0A0}"/>
                </a:ext>
              </a:extLst>
            </p:cNvPr>
            <p:cNvPicPr>
              <a:picLocks noChangeAspect="1"/>
            </p:cNvPicPr>
            <p:nvPr userDrawn="1"/>
          </p:nvPicPr>
          <p:blipFill>
            <a:blip r:embed="rId5"/>
            <a:stretch>
              <a:fillRect/>
            </a:stretch>
          </p:blipFill>
          <p:spPr>
            <a:xfrm>
              <a:off x="1236595" y="3402712"/>
              <a:ext cx="2421005" cy="305352"/>
            </a:xfrm>
            <a:prstGeom prst="rect">
              <a:avLst/>
            </a:prstGeom>
          </p:spPr>
        </p:pic>
        <p:pic>
          <p:nvPicPr>
            <p:cNvPr id="8" name="Picture 7">
              <a:extLst>
                <a:ext uri="{FF2B5EF4-FFF2-40B4-BE49-F238E27FC236}">
                  <a16:creationId xmlns:a16="http://schemas.microsoft.com/office/drawing/2014/main" id="{79505FDA-B56F-40F5-93F3-77E725948773}"/>
                </a:ext>
              </a:extLst>
            </p:cNvPr>
            <p:cNvPicPr>
              <a:picLocks noChangeAspect="1"/>
            </p:cNvPicPr>
            <p:nvPr userDrawn="1"/>
          </p:nvPicPr>
          <p:blipFill>
            <a:blip r:embed="rId6"/>
            <a:stretch>
              <a:fillRect/>
            </a:stretch>
          </p:blipFill>
          <p:spPr>
            <a:xfrm>
              <a:off x="3460583" y="1626433"/>
              <a:ext cx="2235839" cy="1107848"/>
            </a:xfrm>
            <a:prstGeom prst="rect">
              <a:avLst/>
            </a:prstGeom>
          </p:spPr>
        </p:pic>
      </p:grpSp>
      <p:pic>
        <p:nvPicPr>
          <p:cNvPr id="22" name="Picture 21">
            <a:extLst>
              <a:ext uri="{FF2B5EF4-FFF2-40B4-BE49-F238E27FC236}">
                <a16:creationId xmlns:a16="http://schemas.microsoft.com/office/drawing/2014/main" id="{42374562-0082-45AC-B175-C00C8C0CF8FC}"/>
              </a:ext>
            </a:extLst>
          </p:cNvPr>
          <p:cNvPicPr>
            <a:picLocks noChangeAspect="1"/>
          </p:cNvPicPr>
          <p:nvPr userDrawn="1"/>
        </p:nvPicPr>
        <p:blipFill>
          <a:blip r:embed="rId7"/>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18748179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A7AB9725-E30C-447C-B503-B96C6C7DEDC8}"/>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nvGrpSpPr>
          <p:cNvPr id="27" name="Group 26"/>
          <p:cNvGrpSpPr/>
          <p:nvPr/>
        </p:nvGrpSpPr>
        <p:grpSpPr bwMode="gray">
          <a:xfrm>
            <a:off x="0" y="4682937"/>
            <a:ext cx="9144000" cy="460563"/>
            <a:chOff x="0" y="4682937"/>
            <a:chExt cx="9144000" cy="460563"/>
          </a:xfrm>
        </p:grpSpPr>
        <p:sp>
          <p:nvSpPr>
            <p:cNvPr id="28" name="Rectangle 27"/>
            <p:cNvSpPr/>
            <p:nvPr/>
          </p:nvSpPr>
          <p:spPr bwMode="gray">
            <a:xfrm>
              <a:off x="0" y="4691514"/>
              <a:ext cx="9144000" cy="4519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Rectangle 28"/>
            <p:cNvSpPr/>
            <p:nvPr/>
          </p:nvSpPr>
          <p:spPr bwMode="gray">
            <a:xfrm>
              <a:off x="0" y="4682937"/>
              <a:ext cx="9144000" cy="14400"/>
            </a:xfrm>
            <a:prstGeom prst="rect">
              <a:avLst/>
            </a:prstGeom>
            <a:solidFill>
              <a:srgbClr val="B7B9BA"/>
            </a:solidFill>
            <a:ln w="63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0" name="Pentagon 28"/>
          <p:cNvSpPr/>
          <p:nvPr/>
        </p:nvSpPr>
        <p:spPr bwMode="gray">
          <a:xfrm>
            <a:off x="-1" y="4683688"/>
            <a:ext cx="602409" cy="459812"/>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nchorCtr="0"/>
          <a:lstStyle/>
          <a:p>
            <a:endParaRPr lang="en-US" sz="1200" dirty="0">
              <a:solidFill>
                <a:srgbClr val="FFFFFF"/>
              </a:solidFill>
            </a:endParaRPr>
          </a:p>
        </p:txBody>
      </p:sp>
      <p:sp>
        <p:nvSpPr>
          <p:cNvPr id="10" name="Picture Placeholder 13"/>
          <p:cNvSpPr>
            <a:spLocks noGrp="1"/>
          </p:cNvSpPr>
          <p:nvPr>
            <p:ph type="pic" sz="quarter" idx="21"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11" name="Text Placeholder 4"/>
          <p:cNvSpPr>
            <a:spLocks noGrp="1"/>
          </p:cNvSpPr>
          <p:nvPr>
            <p:ph type="body" sz="quarter" idx="22"/>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2" name="Footer Placeholder 1"/>
          <p:cNvSpPr>
            <a:spLocks noGrp="1"/>
          </p:cNvSpPr>
          <p:nvPr>
            <p:ph type="ftr" sz="quarter" idx="23"/>
          </p:nvPr>
        </p:nvSpPr>
        <p:spPr bwMode="gray"/>
        <p:txBody>
          <a:bodyPr/>
          <a:lstStyle/>
          <a:p>
            <a:r>
              <a:rPr lang="en-US" noProof="0"/>
              <a:t>Business unit | Footer</a:t>
            </a:r>
            <a:endParaRPr lang="en-US" noProof="0" dirty="0"/>
          </a:p>
        </p:txBody>
      </p:sp>
      <p:sp>
        <p:nvSpPr>
          <p:cNvPr id="4" name="Slide Number Placeholder 3"/>
          <p:cNvSpPr>
            <a:spLocks noGrp="1"/>
          </p:cNvSpPr>
          <p:nvPr>
            <p:ph type="sldNum" sz="quarter" idx="24"/>
          </p:nvPr>
        </p:nvSpPr>
        <p:spPr bwMode="gray"/>
        <p:txBody>
          <a:bodyPr/>
          <a:lstStyle/>
          <a:p>
            <a:pPr>
              <a:defRPr/>
            </a:pPr>
            <a:fld id="{537E2E77-CED1-4E84-91C2-4E0176ECD4FC}" type="slidenum">
              <a:rPr lang="en-US" smtClean="0"/>
              <a:pPr>
                <a:defRPr/>
              </a:pPr>
              <a:t>‹#›</a:t>
            </a:fld>
            <a:endParaRPr lang="en-US" dirty="0"/>
          </a:p>
        </p:txBody>
      </p:sp>
      <p:sp>
        <p:nvSpPr>
          <p:cNvPr id="15" name="Rectangle 14"/>
          <p:cNvSpPr/>
          <p:nvPr/>
        </p:nvSpPr>
        <p:spPr bwMode="gray">
          <a:xfrm>
            <a:off x="-1641221" y="4242033"/>
            <a:ext cx="1501140" cy="772107"/>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36000" bIns="108000" rtlCol="0" anchor="t" anchorCtr="0">
            <a:spAutoFit/>
          </a:bodyPr>
          <a:lstStyle/>
          <a:p>
            <a:pPr algn="l"/>
            <a:r>
              <a:rPr lang="en-US" sz="900" b="1">
                <a:solidFill>
                  <a:schemeClr val="tx1"/>
                </a:solidFill>
              </a:rPr>
              <a:t>Insert Topic Icons</a:t>
            </a:r>
            <a:endParaRPr lang="en-US" sz="900" b="1" dirty="0">
              <a:solidFill>
                <a:schemeClr val="tx1"/>
              </a:solidFill>
            </a:endParaRPr>
          </a:p>
          <a:p>
            <a:pPr algn="l"/>
            <a:r>
              <a:rPr lang="en-US" sz="900" b="0">
                <a:solidFill>
                  <a:schemeClr val="tx1"/>
                </a:solidFill>
              </a:rPr>
              <a:t>Click on the picture icon and </a:t>
            </a:r>
            <a:r>
              <a:rPr lang="en-US" sz="900" b="0" i="0" baseline="0">
                <a:solidFill>
                  <a:schemeClr val="tx1"/>
                </a:solidFill>
              </a:rPr>
              <a:t>browse to the location of </a:t>
            </a:r>
            <a:r>
              <a:rPr lang="en-US" sz="900" b="0" baseline="0">
                <a:solidFill>
                  <a:schemeClr val="tx1"/>
                </a:solidFill>
              </a:rPr>
              <a:t>the Topic Icons</a:t>
            </a:r>
            <a:endParaRPr lang="en-US" sz="900" b="0" dirty="0">
              <a:solidFill>
                <a:schemeClr val="tx1"/>
              </a:solidFill>
            </a:endParaRPr>
          </a:p>
        </p:txBody>
      </p:sp>
      <p:sp>
        <p:nvSpPr>
          <p:cNvPr id="3" name="Title 2">
            <a:extLst>
              <a:ext uri="{FF2B5EF4-FFF2-40B4-BE49-F238E27FC236}">
                <a16:creationId xmlns:a16="http://schemas.microsoft.com/office/drawing/2014/main" id="{197F0165-08AF-4404-B9FD-41440F612384}"/>
              </a:ext>
            </a:extLst>
          </p:cNvPr>
          <p:cNvSpPr>
            <a:spLocks noGrp="1"/>
          </p:cNvSpPr>
          <p:nvPr>
            <p:ph type="title"/>
          </p:nvPr>
        </p:nvSpPr>
        <p:spPr/>
        <p:txBody>
          <a:bodyPr/>
          <a:lstStyle/>
          <a:p>
            <a:r>
              <a:rPr lang="en-US"/>
              <a:t>Click to edit Master title style</a:t>
            </a:r>
          </a:p>
        </p:txBody>
      </p:sp>
      <p:grpSp>
        <p:nvGrpSpPr>
          <p:cNvPr id="18" name="Group 17">
            <a:extLst>
              <a:ext uri="{FF2B5EF4-FFF2-40B4-BE49-F238E27FC236}">
                <a16:creationId xmlns:a16="http://schemas.microsoft.com/office/drawing/2014/main" id="{225FEB14-E214-46B8-AAF4-66E35457D767}"/>
              </a:ext>
            </a:extLst>
          </p:cNvPr>
          <p:cNvGrpSpPr/>
          <p:nvPr userDrawn="1"/>
        </p:nvGrpSpPr>
        <p:grpSpPr>
          <a:xfrm>
            <a:off x="-1671638" y="254082"/>
            <a:ext cx="1531557" cy="630549"/>
            <a:chOff x="-1671638" y="254082"/>
            <a:chExt cx="1531557" cy="630549"/>
          </a:xfrm>
        </p:grpSpPr>
        <p:cxnSp>
          <p:nvCxnSpPr>
            <p:cNvPr id="19" name="Straight Connector 18">
              <a:extLst>
                <a:ext uri="{FF2B5EF4-FFF2-40B4-BE49-F238E27FC236}">
                  <a16:creationId xmlns:a16="http://schemas.microsoft.com/office/drawing/2014/main" id="{EE28855A-4571-482D-967E-D1942BCC416B}"/>
                </a:ext>
              </a:extLst>
            </p:cNvPr>
            <p:cNvCxnSpPr/>
            <p:nvPr/>
          </p:nvCxnSpPr>
          <p:spPr bwMode="gray">
            <a:xfrm>
              <a:off x="-1671638" y="884631"/>
              <a:ext cx="1531557"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EDDB3EC-DF75-4936-A4FF-FEE6D0EF6254}"/>
                </a:ext>
              </a:extLst>
            </p:cNvPr>
            <p:cNvCxnSpPr/>
            <p:nvPr/>
          </p:nvCxnSpPr>
          <p:spPr bwMode="gray">
            <a:xfrm>
              <a:off x="-1671638" y="254084"/>
              <a:ext cx="1531557"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F65836-C317-4D95-898B-D3A980135543}"/>
                </a:ext>
              </a:extLst>
            </p:cNvPr>
            <p:cNvSpPr/>
            <p:nvPr userDrawn="1"/>
          </p:nvSpPr>
          <p:spPr bwMode="gray">
            <a:xfrm>
              <a:off x="-1671638" y="254082"/>
              <a:ext cx="1531557" cy="630547"/>
            </a:xfrm>
            <a:prstGeom prst="rect">
              <a:avLst/>
            </a:prstGeom>
            <a:solidFill>
              <a:schemeClr val="bg2">
                <a:lumMod val="60000"/>
                <a:lumOff val="4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08000" bIns="54000" rtlCol="0" anchor="b" anchorCtr="0">
              <a:noAutofit/>
            </a:bodyPr>
            <a:lstStyle/>
            <a:p>
              <a:pPr algn="l"/>
              <a:r>
                <a:rPr lang="en-US" sz="1000" b="0" dirty="0">
                  <a:solidFill>
                    <a:schemeClr val="tx1"/>
                  </a:solidFill>
                </a:rPr>
                <a:t>Title area</a:t>
              </a:r>
            </a:p>
            <a:p>
              <a:pPr algn="l"/>
              <a:r>
                <a:rPr lang="en-US" sz="1000" b="0" dirty="0">
                  <a:solidFill>
                    <a:schemeClr val="tx1"/>
                  </a:solidFill>
                </a:rPr>
                <a:t>max over 2 lines</a:t>
              </a:r>
            </a:p>
          </p:txBody>
        </p:sp>
      </p:grpSp>
      <p:pic>
        <p:nvPicPr>
          <p:cNvPr id="22" name="Picture 21">
            <a:extLst>
              <a:ext uri="{FF2B5EF4-FFF2-40B4-BE49-F238E27FC236}">
                <a16:creationId xmlns:a16="http://schemas.microsoft.com/office/drawing/2014/main" id="{EAC6E919-D1AF-4829-85B8-6757F1D6C388}"/>
              </a:ext>
            </a:extLst>
          </p:cNvPr>
          <p:cNvPicPr>
            <a:picLocks noChangeAspect="1"/>
          </p:cNvPicPr>
          <p:nvPr userDrawn="1"/>
        </p:nvPicPr>
        <p:blipFill>
          <a:blip r:embed="rId2"/>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16260982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Movie with AkzoNobel logo white">
    <p:bg bwMode="gray">
      <p:bgPr>
        <a:solidFill>
          <a:schemeClr val="bg1"/>
        </a:solid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D25E1AAA-C40A-4632-8FC4-062951A43D02}"/>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nvGrpSpPr>
          <p:cNvPr id="15" name="Group 33"/>
          <p:cNvGrpSpPr>
            <a:grpSpLocks noChangeAspect="1"/>
          </p:cNvGrpSpPr>
          <p:nvPr/>
        </p:nvGrpSpPr>
        <p:grpSpPr bwMode="gray">
          <a:xfrm>
            <a:off x="7012415" y="236463"/>
            <a:ext cx="1779160" cy="259200"/>
            <a:chOff x="1430338" y="-1666875"/>
            <a:chExt cx="4968876" cy="723900"/>
          </a:xfrm>
          <a:solidFill>
            <a:srgbClr val="FFFFFF"/>
          </a:solidFill>
        </p:grpSpPr>
        <p:sp>
          <p:nvSpPr>
            <p:cNvPr id="19" name="Freeform 18"/>
            <p:cNvSpPr>
              <a:spLocks/>
            </p:cNvSpPr>
            <p:nvPr/>
          </p:nvSpPr>
          <p:spPr bwMode="gray">
            <a:xfrm>
              <a:off x="2705101" y="-1463675"/>
              <a:ext cx="447675" cy="509588"/>
            </a:xfrm>
            <a:custGeom>
              <a:avLst/>
              <a:gdLst/>
              <a:ahLst/>
              <a:cxnLst>
                <a:cxn ang="0">
                  <a:pos x="2" y="136"/>
                </a:cxn>
                <a:cxn ang="0">
                  <a:pos x="104" y="136"/>
                </a:cxn>
                <a:cxn ang="0">
                  <a:pos x="119" y="120"/>
                </a:cxn>
                <a:cxn ang="0">
                  <a:pos x="119" y="112"/>
                </a:cxn>
                <a:cxn ang="0">
                  <a:pos x="93" y="113"/>
                </a:cxn>
                <a:cxn ang="0">
                  <a:pos x="59" y="113"/>
                </a:cxn>
                <a:cxn ang="0">
                  <a:pos x="118" y="0"/>
                </a:cxn>
                <a:cxn ang="0">
                  <a:pos x="2" y="0"/>
                </a:cxn>
                <a:cxn ang="0">
                  <a:pos x="2" y="23"/>
                </a:cxn>
                <a:cxn ang="0">
                  <a:pos x="54" y="23"/>
                </a:cxn>
                <a:cxn ang="0">
                  <a:pos x="5" y="116"/>
                </a:cxn>
                <a:cxn ang="0">
                  <a:pos x="2" y="136"/>
                </a:cxn>
              </a:cxnLst>
              <a:rect l="0" t="0" r="r" b="b"/>
              <a:pathLst>
                <a:path w="119" h="136">
                  <a:moveTo>
                    <a:pt x="2" y="136"/>
                  </a:moveTo>
                  <a:cubicBezTo>
                    <a:pt x="104" y="136"/>
                    <a:pt x="104" y="136"/>
                    <a:pt x="104" y="136"/>
                  </a:cubicBezTo>
                  <a:cubicBezTo>
                    <a:pt x="113" y="136"/>
                    <a:pt x="119" y="129"/>
                    <a:pt x="119" y="120"/>
                  </a:cubicBezTo>
                  <a:cubicBezTo>
                    <a:pt x="119" y="112"/>
                    <a:pt x="119" y="112"/>
                    <a:pt x="119" y="112"/>
                  </a:cubicBezTo>
                  <a:cubicBezTo>
                    <a:pt x="115" y="113"/>
                    <a:pt x="107" y="113"/>
                    <a:pt x="93" y="113"/>
                  </a:cubicBezTo>
                  <a:cubicBezTo>
                    <a:pt x="59" y="113"/>
                    <a:pt x="59" y="113"/>
                    <a:pt x="59" y="113"/>
                  </a:cubicBezTo>
                  <a:cubicBezTo>
                    <a:pt x="118" y="0"/>
                    <a:pt x="118" y="0"/>
                    <a:pt x="118" y="0"/>
                  </a:cubicBezTo>
                  <a:cubicBezTo>
                    <a:pt x="2" y="0"/>
                    <a:pt x="2" y="0"/>
                    <a:pt x="2" y="0"/>
                  </a:cubicBezTo>
                  <a:cubicBezTo>
                    <a:pt x="2" y="23"/>
                    <a:pt x="2" y="23"/>
                    <a:pt x="2" y="23"/>
                  </a:cubicBezTo>
                  <a:cubicBezTo>
                    <a:pt x="54" y="23"/>
                    <a:pt x="54" y="23"/>
                    <a:pt x="54" y="23"/>
                  </a:cubicBezTo>
                  <a:cubicBezTo>
                    <a:pt x="5" y="116"/>
                    <a:pt x="5" y="116"/>
                    <a:pt x="5" y="116"/>
                  </a:cubicBezTo>
                  <a:cubicBezTo>
                    <a:pt x="1" y="124"/>
                    <a:pt x="0" y="131"/>
                    <a:pt x="2" y="13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5"/>
            <p:cNvSpPr>
              <a:spLocks/>
            </p:cNvSpPr>
            <p:nvPr/>
          </p:nvSpPr>
          <p:spPr bwMode="gray">
            <a:xfrm>
              <a:off x="2327276" y="-1463675"/>
              <a:ext cx="344488" cy="509588"/>
            </a:xfrm>
            <a:custGeom>
              <a:avLst/>
              <a:gdLst/>
              <a:ahLst/>
              <a:cxnLst>
                <a:cxn ang="0">
                  <a:pos x="0" y="64"/>
                </a:cxn>
                <a:cxn ang="0">
                  <a:pos x="27" y="115"/>
                </a:cxn>
                <a:cxn ang="0">
                  <a:pos x="54" y="136"/>
                </a:cxn>
                <a:cxn ang="0">
                  <a:pos x="92" y="136"/>
                </a:cxn>
                <a:cxn ang="0">
                  <a:pos x="84" y="124"/>
                </a:cxn>
                <a:cxn ang="0">
                  <a:pos x="46" y="53"/>
                </a:cxn>
                <a:cxn ang="0">
                  <a:pos x="91" y="0"/>
                </a:cxn>
                <a:cxn ang="0">
                  <a:pos x="50" y="0"/>
                </a:cxn>
                <a:cxn ang="0">
                  <a:pos x="0" y="64"/>
                </a:cxn>
              </a:cxnLst>
              <a:rect l="0" t="0" r="r" b="b"/>
              <a:pathLst>
                <a:path w="92" h="136">
                  <a:moveTo>
                    <a:pt x="0" y="64"/>
                  </a:moveTo>
                  <a:cubicBezTo>
                    <a:pt x="27" y="115"/>
                    <a:pt x="27" y="115"/>
                    <a:pt x="27" y="115"/>
                  </a:cubicBezTo>
                  <a:cubicBezTo>
                    <a:pt x="34" y="130"/>
                    <a:pt x="38" y="136"/>
                    <a:pt x="54" y="136"/>
                  </a:cubicBezTo>
                  <a:cubicBezTo>
                    <a:pt x="92" y="136"/>
                    <a:pt x="92" y="136"/>
                    <a:pt x="92" y="136"/>
                  </a:cubicBezTo>
                  <a:cubicBezTo>
                    <a:pt x="90" y="134"/>
                    <a:pt x="88" y="131"/>
                    <a:pt x="84" y="124"/>
                  </a:cubicBezTo>
                  <a:cubicBezTo>
                    <a:pt x="46" y="53"/>
                    <a:pt x="46" y="53"/>
                    <a:pt x="46" y="53"/>
                  </a:cubicBezTo>
                  <a:cubicBezTo>
                    <a:pt x="91" y="0"/>
                    <a:pt x="91" y="0"/>
                    <a:pt x="91" y="0"/>
                  </a:cubicBezTo>
                  <a:cubicBezTo>
                    <a:pt x="50" y="0"/>
                    <a:pt x="50" y="0"/>
                    <a:pt x="50" y="0"/>
                  </a:cubicBezTo>
                  <a:cubicBezTo>
                    <a:pt x="0" y="64"/>
                    <a:pt x="0" y="64"/>
                    <a:pt x="0"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26"/>
            <p:cNvSpPr>
              <a:spLocks/>
            </p:cNvSpPr>
            <p:nvPr/>
          </p:nvSpPr>
          <p:spPr bwMode="gray">
            <a:xfrm>
              <a:off x="2143126" y="-1666875"/>
              <a:ext cx="173038" cy="712788"/>
            </a:xfrm>
            <a:custGeom>
              <a:avLst/>
              <a:gdLst/>
              <a:ahLst/>
              <a:cxnLst>
                <a:cxn ang="0">
                  <a:pos x="0" y="190"/>
                </a:cxn>
                <a:cxn ang="0">
                  <a:pos x="46" y="190"/>
                </a:cxn>
                <a:cxn ang="0">
                  <a:pos x="46" y="28"/>
                </a:cxn>
                <a:cxn ang="0">
                  <a:pos x="17" y="0"/>
                </a:cxn>
                <a:cxn ang="0">
                  <a:pos x="0" y="0"/>
                </a:cxn>
                <a:cxn ang="0">
                  <a:pos x="0" y="190"/>
                </a:cxn>
              </a:cxnLst>
              <a:rect l="0" t="0" r="r" b="b"/>
              <a:pathLst>
                <a:path w="46" h="190">
                  <a:moveTo>
                    <a:pt x="0" y="190"/>
                  </a:moveTo>
                  <a:cubicBezTo>
                    <a:pt x="46" y="190"/>
                    <a:pt x="46" y="190"/>
                    <a:pt x="46" y="190"/>
                  </a:cubicBezTo>
                  <a:cubicBezTo>
                    <a:pt x="46" y="28"/>
                    <a:pt x="46" y="28"/>
                    <a:pt x="46" y="28"/>
                  </a:cubicBezTo>
                  <a:cubicBezTo>
                    <a:pt x="46" y="11"/>
                    <a:pt x="34" y="0"/>
                    <a:pt x="17"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27"/>
            <p:cNvSpPr>
              <a:spLocks noEditPoints="1"/>
            </p:cNvSpPr>
            <p:nvPr/>
          </p:nvSpPr>
          <p:spPr bwMode="gray">
            <a:xfrm>
              <a:off x="1430338" y="-1614488"/>
              <a:ext cx="652463" cy="660400"/>
            </a:xfrm>
            <a:custGeom>
              <a:avLst/>
              <a:gdLst/>
              <a:ahLst/>
              <a:cxnLst>
                <a:cxn ang="0">
                  <a:pos x="52" y="111"/>
                </a:cxn>
                <a:cxn ang="0">
                  <a:pos x="77" y="37"/>
                </a:cxn>
                <a:cxn ang="0">
                  <a:pos x="100" y="111"/>
                </a:cxn>
                <a:cxn ang="0">
                  <a:pos x="52" y="111"/>
                </a:cxn>
                <a:cxn ang="0">
                  <a:pos x="169" y="164"/>
                </a:cxn>
                <a:cxn ang="0">
                  <a:pos x="122" y="24"/>
                </a:cxn>
                <a:cxn ang="0">
                  <a:pos x="87" y="0"/>
                </a:cxn>
                <a:cxn ang="0">
                  <a:pos x="65" y="0"/>
                </a:cxn>
                <a:cxn ang="0">
                  <a:pos x="0" y="176"/>
                </a:cxn>
                <a:cxn ang="0">
                  <a:pos x="29" y="176"/>
                </a:cxn>
                <a:cxn ang="0">
                  <a:pos x="44" y="133"/>
                </a:cxn>
                <a:cxn ang="0">
                  <a:pos x="107" y="133"/>
                </a:cxn>
                <a:cxn ang="0">
                  <a:pos x="116" y="161"/>
                </a:cxn>
                <a:cxn ang="0">
                  <a:pos x="135" y="176"/>
                </a:cxn>
                <a:cxn ang="0">
                  <a:pos x="174" y="176"/>
                </a:cxn>
                <a:cxn ang="0">
                  <a:pos x="169" y="164"/>
                </a:cxn>
              </a:cxnLst>
              <a:rect l="0" t="0" r="r" b="b"/>
              <a:pathLst>
                <a:path w="174" h="176">
                  <a:moveTo>
                    <a:pt x="52" y="111"/>
                  </a:moveTo>
                  <a:cubicBezTo>
                    <a:pt x="77" y="37"/>
                    <a:pt x="77" y="37"/>
                    <a:pt x="77" y="37"/>
                  </a:cubicBezTo>
                  <a:cubicBezTo>
                    <a:pt x="100" y="111"/>
                    <a:pt x="100" y="111"/>
                    <a:pt x="100" y="111"/>
                  </a:cubicBezTo>
                  <a:cubicBezTo>
                    <a:pt x="52" y="111"/>
                    <a:pt x="52" y="111"/>
                    <a:pt x="52" y="111"/>
                  </a:cubicBezTo>
                  <a:close/>
                  <a:moveTo>
                    <a:pt x="169" y="164"/>
                  </a:moveTo>
                  <a:cubicBezTo>
                    <a:pt x="122" y="24"/>
                    <a:pt x="122" y="24"/>
                    <a:pt x="122" y="24"/>
                  </a:cubicBezTo>
                  <a:cubicBezTo>
                    <a:pt x="116" y="8"/>
                    <a:pt x="110" y="0"/>
                    <a:pt x="87" y="0"/>
                  </a:cubicBezTo>
                  <a:cubicBezTo>
                    <a:pt x="65" y="0"/>
                    <a:pt x="65" y="0"/>
                    <a:pt x="65" y="0"/>
                  </a:cubicBezTo>
                  <a:cubicBezTo>
                    <a:pt x="0" y="176"/>
                    <a:pt x="0" y="176"/>
                    <a:pt x="0" y="176"/>
                  </a:cubicBezTo>
                  <a:cubicBezTo>
                    <a:pt x="29" y="176"/>
                    <a:pt x="29" y="176"/>
                    <a:pt x="29" y="176"/>
                  </a:cubicBezTo>
                  <a:cubicBezTo>
                    <a:pt x="44" y="133"/>
                    <a:pt x="44" y="133"/>
                    <a:pt x="44" y="133"/>
                  </a:cubicBezTo>
                  <a:cubicBezTo>
                    <a:pt x="107" y="133"/>
                    <a:pt x="107" y="133"/>
                    <a:pt x="107" y="133"/>
                  </a:cubicBezTo>
                  <a:cubicBezTo>
                    <a:pt x="116" y="161"/>
                    <a:pt x="116" y="161"/>
                    <a:pt x="116" y="161"/>
                  </a:cubicBezTo>
                  <a:cubicBezTo>
                    <a:pt x="120" y="171"/>
                    <a:pt x="124" y="176"/>
                    <a:pt x="135" y="176"/>
                  </a:cubicBezTo>
                  <a:cubicBezTo>
                    <a:pt x="174" y="176"/>
                    <a:pt x="174" y="176"/>
                    <a:pt x="174" y="176"/>
                  </a:cubicBezTo>
                  <a:cubicBezTo>
                    <a:pt x="173" y="174"/>
                    <a:pt x="171" y="171"/>
                    <a:pt x="169" y="1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8"/>
            <p:cNvSpPr>
              <a:spLocks noEditPoints="1"/>
            </p:cNvSpPr>
            <p:nvPr/>
          </p:nvSpPr>
          <p:spPr bwMode="gray">
            <a:xfrm>
              <a:off x="3181351" y="-1474788"/>
              <a:ext cx="541338" cy="531813"/>
            </a:xfrm>
            <a:custGeom>
              <a:avLst/>
              <a:gdLst/>
              <a:ahLst/>
              <a:cxnLst>
                <a:cxn ang="0">
                  <a:pos x="72" y="117"/>
                </a:cxn>
                <a:cxn ang="0">
                  <a:pos x="51" y="70"/>
                </a:cxn>
                <a:cxn ang="0">
                  <a:pos x="72" y="24"/>
                </a:cxn>
                <a:cxn ang="0">
                  <a:pos x="93" y="73"/>
                </a:cxn>
                <a:cxn ang="0">
                  <a:pos x="72" y="117"/>
                </a:cxn>
                <a:cxn ang="0">
                  <a:pos x="72" y="142"/>
                </a:cxn>
                <a:cxn ang="0">
                  <a:pos x="144" y="68"/>
                </a:cxn>
                <a:cxn ang="0">
                  <a:pos x="73" y="0"/>
                </a:cxn>
                <a:cxn ang="0">
                  <a:pos x="0" y="75"/>
                </a:cxn>
                <a:cxn ang="0">
                  <a:pos x="72" y="142"/>
                </a:cxn>
              </a:cxnLst>
              <a:rect l="0" t="0" r="r" b="b"/>
              <a:pathLst>
                <a:path w="144" h="142">
                  <a:moveTo>
                    <a:pt x="72" y="117"/>
                  </a:moveTo>
                  <a:cubicBezTo>
                    <a:pt x="56" y="117"/>
                    <a:pt x="51" y="99"/>
                    <a:pt x="51" y="70"/>
                  </a:cubicBezTo>
                  <a:cubicBezTo>
                    <a:pt x="51" y="43"/>
                    <a:pt x="56" y="24"/>
                    <a:pt x="72" y="24"/>
                  </a:cubicBezTo>
                  <a:cubicBezTo>
                    <a:pt x="88" y="24"/>
                    <a:pt x="93" y="44"/>
                    <a:pt x="93" y="73"/>
                  </a:cubicBezTo>
                  <a:cubicBezTo>
                    <a:pt x="93" y="100"/>
                    <a:pt x="88" y="117"/>
                    <a:pt x="72" y="117"/>
                  </a:cubicBezTo>
                  <a:moveTo>
                    <a:pt x="72" y="142"/>
                  </a:moveTo>
                  <a:cubicBezTo>
                    <a:pt x="111" y="142"/>
                    <a:pt x="144" y="114"/>
                    <a:pt x="144" y="68"/>
                  </a:cubicBezTo>
                  <a:cubicBezTo>
                    <a:pt x="144" y="29"/>
                    <a:pt x="112" y="0"/>
                    <a:pt x="73" y="0"/>
                  </a:cubicBezTo>
                  <a:cubicBezTo>
                    <a:pt x="33" y="0"/>
                    <a:pt x="0" y="28"/>
                    <a:pt x="0" y="75"/>
                  </a:cubicBezTo>
                  <a:cubicBezTo>
                    <a:pt x="0" y="115"/>
                    <a:pt x="33" y="142"/>
                    <a:pt x="72"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9"/>
            <p:cNvSpPr>
              <a:spLocks/>
            </p:cNvSpPr>
            <p:nvPr/>
          </p:nvSpPr>
          <p:spPr bwMode="gray">
            <a:xfrm>
              <a:off x="3800476" y="-1617663"/>
              <a:ext cx="577850" cy="663575"/>
            </a:xfrm>
            <a:custGeom>
              <a:avLst/>
              <a:gdLst/>
              <a:ahLst/>
              <a:cxnLst>
                <a:cxn ang="0">
                  <a:pos x="0" y="177"/>
                </a:cxn>
                <a:cxn ang="0">
                  <a:pos x="30" y="177"/>
                </a:cxn>
                <a:cxn ang="0">
                  <a:pos x="30" y="65"/>
                </a:cxn>
                <a:cxn ang="0">
                  <a:pos x="104" y="154"/>
                </a:cxn>
                <a:cxn ang="0">
                  <a:pos x="133" y="177"/>
                </a:cxn>
                <a:cxn ang="0">
                  <a:pos x="154" y="177"/>
                </a:cxn>
                <a:cxn ang="0">
                  <a:pos x="154" y="16"/>
                </a:cxn>
                <a:cxn ang="0">
                  <a:pos x="138" y="0"/>
                </a:cxn>
                <a:cxn ang="0">
                  <a:pos x="125" y="0"/>
                </a:cxn>
                <a:cxn ang="0">
                  <a:pos x="125" y="107"/>
                </a:cxn>
                <a:cxn ang="0">
                  <a:pos x="54" y="21"/>
                </a:cxn>
                <a:cxn ang="0">
                  <a:pos x="22" y="0"/>
                </a:cxn>
                <a:cxn ang="0">
                  <a:pos x="0" y="0"/>
                </a:cxn>
                <a:cxn ang="0">
                  <a:pos x="0" y="177"/>
                </a:cxn>
              </a:cxnLst>
              <a:rect l="0" t="0" r="r" b="b"/>
              <a:pathLst>
                <a:path w="154" h="177">
                  <a:moveTo>
                    <a:pt x="0" y="177"/>
                  </a:moveTo>
                  <a:cubicBezTo>
                    <a:pt x="30" y="177"/>
                    <a:pt x="30" y="177"/>
                    <a:pt x="30" y="177"/>
                  </a:cubicBezTo>
                  <a:cubicBezTo>
                    <a:pt x="30" y="65"/>
                    <a:pt x="30" y="65"/>
                    <a:pt x="30" y="65"/>
                  </a:cubicBezTo>
                  <a:cubicBezTo>
                    <a:pt x="104" y="154"/>
                    <a:pt x="104" y="154"/>
                    <a:pt x="104" y="154"/>
                  </a:cubicBezTo>
                  <a:cubicBezTo>
                    <a:pt x="115" y="167"/>
                    <a:pt x="122" y="177"/>
                    <a:pt x="133" y="177"/>
                  </a:cubicBezTo>
                  <a:cubicBezTo>
                    <a:pt x="154" y="177"/>
                    <a:pt x="154" y="177"/>
                    <a:pt x="154" y="177"/>
                  </a:cubicBezTo>
                  <a:cubicBezTo>
                    <a:pt x="154" y="16"/>
                    <a:pt x="154" y="16"/>
                    <a:pt x="154" y="16"/>
                  </a:cubicBezTo>
                  <a:cubicBezTo>
                    <a:pt x="154" y="6"/>
                    <a:pt x="148" y="0"/>
                    <a:pt x="138" y="0"/>
                  </a:cubicBezTo>
                  <a:cubicBezTo>
                    <a:pt x="125" y="0"/>
                    <a:pt x="125" y="0"/>
                    <a:pt x="125" y="0"/>
                  </a:cubicBezTo>
                  <a:cubicBezTo>
                    <a:pt x="125" y="107"/>
                    <a:pt x="125" y="107"/>
                    <a:pt x="125" y="107"/>
                  </a:cubicBezTo>
                  <a:cubicBezTo>
                    <a:pt x="54" y="21"/>
                    <a:pt x="54" y="21"/>
                    <a:pt x="54" y="21"/>
                  </a:cubicBezTo>
                  <a:cubicBezTo>
                    <a:pt x="43" y="8"/>
                    <a:pt x="37" y="0"/>
                    <a:pt x="22" y="0"/>
                  </a:cubicBezTo>
                  <a:cubicBezTo>
                    <a:pt x="0" y="0"/>
                    <a:pt x="0" y="0"/>
                    <a:pt x="0" y="0"/>
                  </a:cubicBezTo>
                  <a:cubicBezTo>
                    <a:pt x="0" y="177"/>
                    <a:pt x="0" y="177"/>
                    <a:pt x="0" y="1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30"/>
            <p:cNvSpPr>
              <a:spLocks noEditPoints="1"/>
            </p:cNvSpPr>
            <p:nvPr/>
          </p:nvSpPr>
          <p:spPr bwMode="gray">
            <a:xfrm>
              <a:off x="4456113" y="-1474788"/>
              <a:ext cx="536575" cy="531813"/>
            </a:xfrm>
            <a:custGeom>
              <a:avLst/>
              <a:gdLst/>
              <a:ahLst/>
              <a:cxnLst>
                <a:cxn ang="0">
                  <a:pos x="72" y="117"/>
                </a:cxn>
                <a:cxn ang="0">
                  <a:pos x="50" y="70"/>
                </a:cxn>
                <a:cxn ang="0">
                  <a:pos x="72" y="24"/>
                </a:cxn>
                <a:cxn ang="0">
                  <a:pos x="93" y="73"/>
                </a:cxn>
                <a:cxn ang="0">
                  <a:pos x="72" y="117"/>
                </a:cxn>
                <a:cxn ang="0">
                  <a:pos x="71" y="142"/>
                </a:cxn>
                <a:cxn ang="0">
                  <a:pos x="143" y="68"/>
                </a:cxn>
                <a:cxn ang="0">
                  <a:pos x="72" y="0"/>
                </a:cxn>
                <a:cxn ang="0">
                  <a:pos x="0" y="75"/>
                </a:cxn>
                <a:cxn ang="0">
                  <a:pos x="71" y="142"/>
                </a:cxn>
              </a:cxnLst>
              <a:rect l="0" t="0" r="r" b="b"/>
              <a:pathLst>
                <a:path w="143" h="142">
                  <a:moveTo>
                    <a:pt x="72" y="117"/>
                  </a:moveTo>
                  <a:cubicBezTo>
                    <a:pt x="56" y="117"/>
                    <a:pt x="50" y="99"/>
                    <a:pt x="50" y="70"/>
                  </a:cubicBezTo>
                  <a:cubicBezTo>
                    <a:pt x="50" y="43"/>
                    <a:pt x="56" y="24"/>
                    <a:pt x="72" y="24"/>
                  </a:cubicBezTo>
                  <a:cubicBezTo>
                    <a:pt x="88" y="24"/>
                    <a:pt x="93" y="44"/>
                    <a:pt x="93" y="73"/>
                  </a:cubicBezTo>
                  <a:cubicBezTo>
                    <a:pt x="93" y="100"/>
                    <a:pt x="88" y="117"/>
                    <a:pt x="72" y="117"/>
                  </a:cubicBezTo>
                  <a:moveTo>
                    <a:pt x="71" y="142"/>
                  </a:moveTo>
                  <a:cubicBezTo>
                    <a:pt x="110" y="142"/>
                    <a:pt x="143" y="114"/>
                    <a:pt x="143" y="68"/>
                  </a:cubicBezTo>
                  <a:cubicBezTo>
                    <a:pt x="143" y="29"/>
                    <a:pt x="112" y="0"/>
                    <a:pt x="72" y="0"/>
                  </a:cubicBezTo>
                  <a:cubicBezTo>
                    <a:pt x="32" y="0"/>
                    <a:pt x="0" y="28"/>
                    <a:pt x="0" y="75"/>
                  </a:cubicBezTo>
                  <a:cubicBezTo>
                    <a:pt x="0" y="115"/>
                    <a:pt x="32" y="142"/>
                    <a:pt x="71"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31"/>
            <p:cNvSpPr>
              <a:spLocks noEditPoints="1"/>
            </p:cNvSpPr>
            <p:nvPr/>
          </p:nvSpPr>
          <p:spPr bwMode="gray">
            <a:xfrm>
              <a:off x="5645151" y="-1474788"/>
              <a:ext cx="506413" cy="531813"/>
            </a:xfrm>
            <a:custGeom>
              <a:avLst/>
              <a:gdLst/>
              <a:ahLst/>
              <a:cxnLst>
                <a:cxn ang="0">
                  <a:pos x="47" y="55"/>
                </a:cxn>
                <a:cxn ang="0">
                  <a:pos x="69" y="22"/>
                </a:cxn>
                <a:cxn ang="0">
                  <a:pos x="91" y="55"/>
                </a:cxn>
                <a:cxn ang="0">
                  <a:pos x="47" y="55"/>
                </a:cxn>
                <a:cxn ang="0">
                  <a:pos x="134" y="74"/>
                </a:cxn>
                <a:cxn ang="0">
                  <a:pos x="135" y="58"/>
                </a:cxn>
                <a:cxn ang="0">
                  <a:pos x="70" y="0"/>
                </a:cxn>
                <a:cxn ang="0">
                  <a:pos x="0" y="71"/>
                </a:cxn>
                <a:cxn ang="0">
                  <a:pos x="68" y="142"/>
                </a:cxn>
                <a:cxn ang="0">
                  <a:pos x="127" y="99"/>
                </a:cxn>
                <a:cxn ang="0">
                  <a:pos x="88" y="109"/>
                </a:cxn>
                <a:cxn ang="0">
                  <a:pos x="47" y="74"/>
                </a:cxn>
                <a:cxn ang="0">
                  <a:pos x="134" y="74"/>
                </a:cxn>
              </a:cxnLst>
              <a:rect l="0" t="0" r="r" b="b"/>
              <a:pathLst>
                <a:path w="135" h="142">
                  <a:moveTo>
                    <a:pt x="47" y="55"/>
                  </a:moveTo>
                  <a:cubicBezTo>
                    <a:pt x="48" y="35"/>
                    <a:pt x="56" y="22"/>
                    <a:pt x="69" y="22"/>
                  </a:cubicBezTo>
                  <a:cubicBezTo>
                    <a:pt x="88" y="22"/>
                    <a:pt x="91" y="55"/>
                    <a:pt x="91" y="55"/>
                  </a:cubicBezTo>
                  <a:cubicBezTo>
                    <a:pt x="47" y="55"/>
                    <a:pt x="47" y="55"/>
                    <a:pt x="47" y="55"/>
                  </a:cubicBezTo>
                  <a:close/>
                  <a:moveTo>
                    <a:pt x="134" y="74"/>
                  </a:moveTo>
                  <a:cubicBezTo>
                    <a:pt x="135" y="68"/>
                    <a:pt x="135" y="63"/>
                    <a:pt x="135" y="58"/>
                  </a:cubicBezTo>
                  <a:cubicBezTo>
                    <a:pt x="135" y="26"/>
                    <a:pt x="111" y="0"/>
                    <a:pt x="70" y="0"/>
                  </a:cubicBezTo>
                  <a:cubicBezTo>
                    <a:pt x="29" y="0"/>
                    <a:pt x="0" y="28"/>
                    <a:pt x="0" y="71"/>
                  </a:cubicBezTo>
                  <a:cubicBezTo>
                    <a:pt x="0" y="113"/>
                    <a:pt x="26" y="142"/>
                    <a:pt x="68" y="142"/>
                  </a:cubicBezTo>
                  <a:cubicBezTo>
                    <a:pt x="111" y="142"/>
                    <a:pt x="126" y="120"/>
                    <a:pt x="127" y="99"/>
                  </a:cubicBezTo>
                  <a:cubicBezTo>
                    <a:pt x="118" y="105"/>
                    <a:pt x="104" y="109"/>
                    <a:pt x="88" y="109"/>
                  </a:cubicBezTo>
                  <a:cubicBezTo>
                    <a:pt x="65" y="109"/>
                    <a:pt x="49" y="96"/>
                    <a:pt x="47" y="74"/>
                  </a:cubicBezTo>
                  <a:cubicBezTo>
                    <a:pt x="134" y="74"/>
                    <a:pt x="134" y="74"/>
                    <a:pt x="134"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32"/>
            <p:cNvSpPr>
              <a:spLocks noEditPoints="1"/>
            </p:cNvSpPr>
            <p:nvPr/>
          </p:nvSpPr>
          <p:spPr bwMode="gray">
            <a:xfrm>
              <a:off x="5072063" y="-1666875"/>
              <a:ext cx="509588" cy="712788"/>
            </a:xfrm>
            <a:custGeom>
              <a:avLst/>
              <a:gdLst/>
              <a:ahLst/>
              <a:cxnLst>
                <a:cxn ang="0">
                  <a:pos x="54" y="167"/>
                </a:cxn>
                <a:cxn ang="0">
                  <a:pos x="46" y="167"/>
                </a:cxn>
                <a:cxn ang="0">
                  <a:pos x="46" y="80"/>
                </a:cxn>
                <a:cxn ang="0">
                  <a:pos x="57" y="79"/>
                </a:cxn>
                <a:cxn ang="0">
                  <a:pos x="88" y="117"/>
                </a:cxn>
                <a:cxn ang="0">
                  <a:pos x="54" y="167"/>
                </a:cxn>
                <a:cxn ang="0">
                  <a:pos x="82" y="52"/>
                </a:cxn>
                <a:cxn ang="0">
                  <a:pos x="46" y="65"/>
                </a:cxn>
                <a:cxn ang="0">
                  <a:pos x="46" y="28"/>
                </a:cxn>
                <a:cxn ang="0">
                  <a:pos x="17" y="0"/>
                </a:cxn>
                <a:cxn ang="0">
                  <a:pos x="0" y="0"/>
                </a:cxn>
                <a:cxn ang="0">
                  <a:pos x="0" y="190"/>
                </a:cxn>
                <a:cxn ang="0">
                  <a:pos x="55" y="190"/>
                </a:cxn>
                <a:cxn ang="0">
                  <a:pos x="136" y="112"/>
                </a:cxn>
                <a:cxn ang="0">
                  <a:pos x="82" y="52"/>
                </a:cxn>
              </a:cxnLst>
              <a:rect l="0" t="0" r="r" b="b"/>
              <a:pathLst>
                <a:path w="136" h="190">
                  <a:moveTo>
                    <a:pt x="54" y="167"/>
                  </a:moveTo>
                  <a:cubicBezTo>
                    <a:pt x="46" y="167"/>
                    <a:pt x="46" y="167"/>
                    <a:pt x="46" y="167"/>
                  </a:cubicBezTo>
                  <a:cubicBezTo>
                    <a:pt x="46" y="80"/>
                    <a:pt x="46" y="80"/>
                    <a:pt x="46" y="80"/>
                  </a:cubicBezTo>
                  <a:cubicBezTo>
                    <a:pt x="49" y="79"/>
                    <a:pt x="52" y="79"/>
                    <a:pt x="57" y="79"/>
                  </a:cubicBezTo>
                  <a:cubicBezTo>
                    <a:pt x="74" y="79"/>
                    <a:pt x="88" y="95"/>
                    <a:pt x="88" y="117"/>
                  </a:cubicBezTo>
                  <a:cubicBezTo>
                    <a:pt x="88" y="150"/>
                    <a:pt x="76" y="167"/>
                    <a:pt x="54" y="167"/>
                  </a:cubicBezTo>
                  <a:close/>
                  <a:moveTo>
                    <a:pt x="82" y="52"/>
                  </a:moveTo>
                  <a:cubicBezTo>
                    <a:pt x="66" y="52"/>
                    <a:pt x="53" y="58"/>
                    <a:pt x="46" y="65"/>
                  </a:cubicBezTo>
                  <a:cubicBezTo>
                    <a:pt x="46" y="28"/>
                    <a:pt x="46" y="28"/>
                    <a:pt x="46" y="28"/>
                  </a:cubicBezTo>
                  <a:cubicBezTo>
                    <a:pt x="46" y="11"/>
                    <a:pt x="34" y="0"/>
                    <a:pt x="17" y="0"/>
                  </a:cubicBezTo>
                  <a:cubicBezTo>
                    <a:pt x="0" y="0"/>
                    <a:pt x="0" y="0"/>
                    <a:pt x="0" y="0"/>
                  </a:cubicBezTo>
                  <a:cubicBezTo>
                    <a:pt x="0" y="190"/>
                    <a:pt x="0" y="190"/>
                    <a:pt x="0" y="190"/>
                  </a:cubicBezTo>
                  <a:cubicBezTo>
                    <a:pt x="55" y="190"/>
                    <a:pt x="55" y="190"/>
                    <a:pt x="55" y="190"/>
                  </a:cubicBezTo>
                  <a:cubicBezTo>
                    <a:pt x="107" y="190"/>
                    <a:pt x="136" y="163"/>
                    <a:pt x="136" y="112"/>
                  </a:cubicBezTo>
                  <a:cubicBezTo>
                    <a:pt x="136" y="78"/>
                    <a:pt x="113" y="52"/>
                    <a:pt x="82" y="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33"/>
            <p:cNvSpPr>
              <a:spLocks/>
            </p:cNvSpPr>
            <p:nvPr/>
          </p:nvSpPr>
          <p:spPr bwMode="gray">
            <a:xfrm>
              <a:off x="6223001" y="-1666875"/>
              <a:ext cx="176213" cy="712788"/>
            </a:xfrm>
            <a:custGeom>
              <a:avLst/>
              <a:gdLst/>
              <a:ahLst/>
              <a:cxnLst>
                <a:cxn ang="0">
                  <a:pos x="0" y="190"/>
                </a:cxn>
                <a:cxn ang="0">
                  <a:pos x="47" y="190"/>
                </a:cxn>
                <a:cxn ang="0">
                  <a:pos x="47" y="28"/>
                </a:cxn>
                <a:cxn ang="0">
                  <a:pos x="18" y="0"/>
                </a:cxn>
                <a:cxn ang="0">
                  <a:pos x="0" y="0"/>
                </a:cxn>
                <a:cxn ang="0">
                  <a:pos x="0" y="190"/>
                </a:cxn>
              </a:cxnLst>
              <a:rect l="0" t="0" r="r" b="b"/>
              <a:pathLst>
                <a:path w="47" h="190">
                  <a:moveTo>
                    <a:pt x="0" y="190"/>
                  </a:moveTo>
                  <a:cubicBezTo>
                    <a:pt x="47" y="190"/>
                    <a:pt x="47" y="190"/>
                    <a:pt x="47" y="190"/>
                  </a:cubicBezTo>
                  <a:cubicBezTo>
                    <a:pt x="47" y="28"/>
                    <a:pt x="47" y="28"/>
                    <a:pt x="47" y="28"/>
                  </a:cubicBezTo>
                  <a:cubicBezTo>
                    <a:pt x="47" y="11"/>
                    <a:pt x="35" y="0"/>
                    <a:pt x="18"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6" name="Rectangle 15"/>
          <p:cNvSpPr/>
          <p:nvPr/>
        </p:nvSpPr>
        <p:spPr bwMode="gray">
          <a:xfrm>
            <a:off x="9288780" y="182684"/>
            <a:ext cx="1501140" cy="1326105"/>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r>
              <a:rPr lang="en-US" sz="900" b="1">
                <a:solidFill>
                  <a:schemeClr val="tx1"/>
                </a:solidFill>
              </a:rPr>
              <a:t>Supported format for the</a:t>
            </a:r>
            <a:r>
              <a:rPr lang="en-US" sz="900" b="1" baseline="0">
                <a:solidFill>
                  <a:schemeClr val="tx1"/>
                </a:solidFill>
              </a:rPr>
              <a:t> Windows platform</a:t>
            </a:r>
            <a:endParaRPr lang="en-US" sz="900" b="1" dirty="0">
              <a:solidFill>
                <a:schemeClr val="tx1"/>
              </a:solidFill>
            </a:endParaRPr>
          </a:p>
          <a:p>
            <a:pPr algn="l"/>
            <a:r>
              <a:rPr lang="en-US" sz="900" b="0">
                <a:solidFill>
                  <a:schemeClr val="tx1"/>
                </a:solidFill>
              </a:rPr>
              <a:t>• WMV</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rPr>
              <a:t>• MPG</a:t>
            </a:r>
          </a:p>
          <a:p>
            <a:pPr algn="l"/>
            <a:endParaRPr lang="en-US" sz="900" b="0">
              <a:solidFill>
                <a:schemeClr val="tx1"/>
              </a:solidFill>
            </a:endParaRPr>
          </a:p>
          <a:p>
            <a:pPr algn="l"/>
            <a:r>
              <a:rPr lang="en-US" sz="900" b="0">
                <a:solidFill>
                  <a:schemeClr val="tx1"/>
                </a:solidFill>
              </a:rPr>
              <a:t>MP4</a:t>
            </a:r>
            <a:r>
              <a:rPr lang="en-US" sz="900" b="0" baseline="0">
                <a:solidFill>
                  <a:schemeClr val="tx1"/>
                </a:solidFill>
              </a:rPr>
              <a:t> not (yet) fully supported without </a:t>
            </a:r>
          </a:p>
          <a:p>
            <a:pPr algn="l"/>
            <a:r>
              <a:rPr lang="en-US" sz="900" b="0" baseline="0">
                <a:solidFill>
                  <a:schemeClr val="tx1"/>
                </a:solidFill>
              </a:rPr>
              <a:t>QT Player</a:t>
            </a:r>
            <a:endParaRPr lang="en-US" sz="900" b="0" dirty="0">
              <a:solidFill>
                <a:schemeClr val="tx1"/>
              </a:solidFill>
            </a:endParaRPr>
          </a:p>
        </p:txBody>
      </p:sp>
      <p:sp>
        <p:nvSpPr>
          <p:cNvPr id="18" name="Media Placeholder 17">
            <a:extLst>
              <a:ext uri="{FF2B5EF4-FFF2-40B4-BE49-F238E27FC236}">
                <a16:creationId xmlns:a16="http://schemas.microsoft.com/office/drawing/2014/main" id="{B7B02E2F-78D5-4E30-B751-15176ACA16DE}"/>
              </a:ext>
            </a:extLst>
          </p:cNvPr>
          <p:cNvSpPr>
            <a:spLocks noGrp="1"/>
          </p:cNvSpPr>
          <p:nvPr>
            <p:ph type="media" sz="quarter" idx="10" hasCustomPrompt="1"/>
          </p:nvPr>
        </p:nvSpPr>
        <p:spPr bwMode="gray">
          <a:xfrm>
            <a:off x="1" y="-900"/>
            <a:ext cx="9143999" cy="5144400"/>
          </a:xfrm>
          <a:prstGeom prst="rect">
            <a:avLst/>
          </a:prstGeom>
          <a:solidFill>
            <a:schemeClr val="tx1"/>
          </a:solidFill>
        </p:spPr>
        <p:txBody>
          <a:bodyPr wrap="square" anchor="ctr" anchorCtr="0">
            <a:noAutofit/>
          </a:bodyPr>
          <a:lstStyle>
            <a:lvl1pPr marL="0" marR="0" indent="0" algn="ctr" defTabSz="914400" rtl="0" eaLnBrk="1" fontAlgn="auto" latinLnBrk="0" hangingPunct="1">
              <a:lnSpc>
                <a:spcPts val="1400"/>
              </a:lnSpc>
              <a:spcBef>
                <a:spcPts val="0"/>
              </a:spcBef>
              <a:spcAft>
                <a:spcPts val="0"/>
              </a:spcAft>
              <a:buClr>
                <a:schemeClr val="accent4"/>
              </a:buClr>
              <a:buSzTx/>
              <a:buFont typeface="Arial" pitchFamily="34" charset="0"/>
              <a:buNone/>
              <a:tabLst/>
              <a:defRPr sz="1200" b="0" baseline="0">
                <a:solidFill>
                  <a:schemeClr val="bg1"/>
                </a:solidFill>
              </a:defRPr>
            </a:lvl1pPr>
          </a:lstStyle>
          <a:p>
            <a:r>
              <a:rPr lang="en-US" dirty="0"/>
              <a:t>Movie </a:t>
            </a:r>
          </a:p>
          <a:p>
            <a:r>
              <a:rPr lang="en-US" dirty="0"/>
              <a:t>(in WMV format for Windows platform)</a:t>
            </a:r>
          </a:p>
          <a:p>
            <a:endParaRPr lang="nl-NL" dirty="0"/>
          </a:p>
          <a:p>
            <a:endParaRPr lang="nl-NL" dirty="0"/>
          </a:p>
          <a:p>
            <a:endParaRPr lang="nl-NL" dirty="0"/>
          </a:p>
          <a:p>
            <a:endParaRPr lang="en-US" dirty="0"/>
          </a:p>
          <a:p>
            <a:endParaRPr lang="en-US" dirty="0"/>
          </a:p>
        </p:txBody>
      </p:sp>
      <p:sp>
        <p:nvSpPr>
          <p:cNvPr id="30" name="Text Placeholder 9">
            <a:extLst>
              <a:ext uri="{FF2B5EF4-FFF2-40B4-BE49-F238E27FC236}">
                <a16:creationId xmlns:a16="http://schemas.microsoft.com/office/drawing/2014/main" id="{0FD17422-CBAC-4C3D-8D82-972F7F972DC1}"/>
              </a:ext>
            </a:extLst>
          </p:cNvPr>
          <p:cNvSpPr>
            <a:spLocks noGrp="1" noChangeAspect="1"/>
          </p:cNvSpPr>
          <p:nvPr>
            <p:ph type="body" sz="quarter" idx="13" hasCustomPrompt="1"/>
          </p:nvPr>
        </p:nvSpPr>
        <p:spPr>
          <a:xfrm>
            <a:off x="7013575" y="236191"/>
            <a:ext cx="1782000" cy="260528"/>
          </a:xfrm>
          <a:blipFill>
            <a:blip r:embed="rId2"/>
            <a:stretch>
              <a:fillRect/>
            </a:stretch>
          </a:blipFill>
        </p:spPr>
        <p:txBody>
          <a:bodyPr/>
          <a:lstStyle>
            <a:lvl1pPr>
              <a:defRPr/>
            </a:lvl1pPr>
          </a:lstStyle>
          <a:p>
            <a:pPr lvl="0"/>
            <a:r>
              <a:rPr lang="en-US" dirty="0"/>
              <a:t>    </a:t>
            </a:r>
          </a:p>
        </p:txBody>
      </p:sp>
    </p:spTree>
    <p:extLst>
      <p:ext uri="{BB962C8B-B14F-4D97-AF65-F5344CB8AC3E}">
        <p14:creationId xmlns:p14="http://schemas.microsoft.com/office/powerpoint/2010/main" val="15295466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Movie with AkzoNobel logo blue">
    <p:bg bwMode="gray">
      <p:bgPr>
        <a:solidFill>
          <a:schemeClr val="bg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B7638C14-9F90-4D41-8679-C0126FB6177D}"/>
              </a:ext>
            </a:extLst>
          </p:cNvPr>
          <p:cNvGrpSpPr/>
          <p:nvPr userDrawn="1"/>
        </p:nvGrpSpPr>
        <p:grpSpPr>
          <a:xfrm>
            <a:off x="0" y="-900"/>
            <a:ext cx="9143999" cy="5144400"/>
            <a:chOff x="0" y="-900"/>
            <a:chExt cx="9143999" cy="5144400"/>
          </a:xfrm>
        </p:grpSpPr>
        <p:sp>
          <p:nvSpPr>
            <p:cNvPr id="9" name="Rectangle 8">
              <a:extLst>
                <a:ext uri="{FF2B5EF4-FFF2-40B4-BE49-F238E27FC236}">
                  <a16:creationId xmlns:a16="http://schemas.microsoft.com/office/drawing/2014/main" id="{14BB892A-DD27-4AF9-9505-BDAA1BD47A65}"/>
                </a:ext>
              </a:extLst>
            </p:cNvPr>
            <p:cNvSpPr/>
            <p:nvPr userDrawn="1"/>
          </p:nvSpPr>
          <p:spPr>
            <a:xfrm>
              <a:off x="7013813" y="-900"/>
              <a:ext cx="1782000" cy="5144400"/>
            </a:xfrm>
            <a:prstGeom prst="rect">
              <a:avLst/>
            </a:prstGeom>
            <a:gradFill flip="none" rotWithShape="1">
              <a:gsLst>
                <a:gs pos="0">
                  <a:srgbClr val="005192"/>
                </a:gs>
                <a:gs pos="100000">
                  <a:srgbClr val="008BC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10" name="Rectangle 9">
              <a:extLst>
                <a:ext uri="{FF2B5EF4-FFF2-40B4-BE49-F238E27FC236}">
                  <a16:creationId xmlns:a16="http://schemas.microsoft.com/office/drawing/2014/main" id="{1A4506E1-8F44-471B-9A1A-DDABA454F049}"/>
                </a:ext>
              </a:extLst>
            </p:cNvPr>
            <p:cNvSpPr/>
            <p:nvPr userDrawn="1"/>
          </p:nvSpPr>
          <p:spPr>
            <a:xfrm>
              <a:off x="0" y="-900"/>
              <a:ext cx="7013813" cy="5144400"/>
            </a:xfrm>
            <a:prstGeom prst="rect">
              <a:avLst/>
            </a:prstGeom>
            <a:solidFill>
              <a:srgbClr val="00519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11" name="Rectangle 10">
              <a:extLst>
                <a:ext uri="{FF2B5EF4-FFF2-40B4-BE49-F238E27FC236}">
                  <a16:creationId xmlns:a16="http://schemas.microsoft.com/office/drawing/2014/main" id="{424C5D3A-5249-4802-82FC-B88E0C727FCB}"/>
                </a:ext>
              </a:extLst>
            </p:cNvPr>
            <p:cNvSpPr/>
            <p:nvPr userDrawn="1"/>
          </p:nvSpPr>
          <p:spPr>
            <a:xfrm>
              <a:off x="8795812" y="-900"/>
              <a:ext cx="348187" cy="5144400"/>
            </a:xfrm>
            <a:prstGeom prst="rect">
              <a:avLst/>
            </a:prstGeom>
            <a:solidFill>
              <a:srgbClr val="008B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sp>
        <p:nvSpPr>
          <p:cNvPr id="5" name="Freeform: Shape 4">
            <a:extLst>
              <a:ext uri="{FF2B5EF4-FFF2-40B4-BE49-F238E27FC236}">
                <a16:creationId xmlns:a16="http://schemas.microsoft.com/office/drawing/2014/main" id="{0C80CFD0-7C46-4237-B059-79BE7CA1024E}"/>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7" name="Media Placeholder 6">
            <a:extLst>
              <a:ext uri="{FF2B5EF4-FFF2-40B4-BE49-F238E27FC236}">
                <a16:creationId xmlns:a16="http://schemas.microsoft.com/office/drawing/2014/main" id="{9625CAEF-7F4C-46C1-8A48-672F893B6657}"/>
              </a:ext>
            </a:extLst>
          </p:cNvPr>
          <p:cNvSpPr>
            <a:spLocks noGrp="1"/>
          </p:cNvSpPr>
          <p:nvPr>
            <p:ph type="media" sz="quarter" idx="10" hasCustomPrompt="1"/>
          </p:nvPr>
        </p:nvSpPr>
        <p:spPr bwMode="gray">
          <a:xfrm>
            <a:off x="1" y="-450"/>
            <a:ext cx="9143999" cy="5144400"/>
          </a:xfrm>
          <a:prstGeom prst="rect">
            <a:avLst/>
          </a:prstGeom>
          <a:solidFill>
            <a:schemeClr val="bg1"/>
          </a:solidFill>
        </p:spPr>
        <p:txBody>
          <a:bodyPr wrap="square" anchor="ctr" anchorCtr="0">
            <a:noAutofit/>
          </a:bodyPr>
          <a:lstStyle>
            <a:lvl1pPr marL="0" marR="0" indent="0" algn="ctr" defTabSz="914400" rtl="0" eaLnBrk="1" fontAlgn="auto" latinLnBrk="0" hangingPunct="1">
              <a:lnSpc>
                <a:spcPts val="1400"/>
              </a:lnSpc>
              <a:spcBef>
                <a:spcPts val="0"/>
              </a:spcBef>
              <a:spcAft>
                <a:spcPts val="0"/>
              </a:spcAft>
              <a:buClr>
                <a:schemeClr val="accent4"/>
              </a:buClr>
              <a:buSzTx/>
              <a:buFont typeface="Arial" pitchFamily="34" charset="0"/>
              <a:buNone/>
              <a:tabLst/>
              <a:defRPr sz="1200" b="0" baseline="0">
                <a:solidFill>
                  <a:schemeClr val="tx1"/>
                </a:solidFill>
              </a:defRPr>
            </a:lvl1pPr>
          </a:lstStyle>
          <a:p>
            <a:r>
              <a:rPr lang="en-US" dirty="0"/>
              <a:t>Movie </a:t>
            </a:r>
          </a:p>
          <a:p>
            <a:r>
              <a:rPr lang="en-US" dirty="0"/>
              <a:t>(in WMV format for Windows platform)</a:t>
            </a:r>
          </a:p>
          <a:p>
            <a:endParaRPr lang="nl-NL" dirty="0"/>
          </a:p>
          <a:p>
            <a:endParaRPr lang="nl-NL" dirty="0"/>
          </a:p>
          <a:p>
            <a:endParaRPr lang="nl-NL" dirty="0"/>
          </a:p>
          <a:p>
            <a:endParaRPr lang="en-US" dirty="0"/>
          </a:p>
          <a:p>
            <a:endParaRPr lang="en-US" dirty="0"/>
          </a:p>
        </p:txBody>
      </p:sp>
      <p:sp>
        <p:nvSpPr>
          <p:cNvPr id="26" name="Rectangle 25"/>
          <p:cNvSpPr/>
          <p:nvPr/>
        </p:nvSpPr>
        <p:spPr bwMode="gray">
          <a:xfrm>
            <a:off x="9288780" y="182684"/>
            <a:ext cx="1501140" cy="1326105"/>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r>
              <a:rPr lang="en-US" sz="900" b="1">
                <a:solidFill>
                  <a:schemeClr val="tx1"/>
                </a:solidFill>
              </a:rPr>
              <a:t>Supported format for the</a:t>
            </a:r>
            <a:r>
              <a:rPr lang="en-US" sz="900" b="1" baseline="0">
                <a:solidFill>
                  <a:schemeClr val="tx1"/>
                </a:solidFill>
              </a:rPr>
              <a:t> Windows platform</a:t>
            </a:r>
            <a:endParaRPr lang="en-US" sz="900" b="1" dirty="0">
              <a:solidFill>
                <a:schemeClr val="tx1"/>
              </a:solidFill>
            </a:endParaRPr>
          </a:p>
          <a:p>
            <a:pPr algn="l"/>
            <a:r>
              <a:rPr lang="en-US" sz="900" b="0">
                <a:solidFill>
                  <a:schemeClr val="tx1"/>
                </a:solidFill>
              </a:rPr>
              <a:t>• WMV</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rPr>
              <a:t>• MPG</a:t>
            </a:r>
          </a:p>
          <a:p>
            <a:pPr algn="l"/>
            <a:endParaRPr lang="en-US" sz="900" b="0">
              <a:solidFill>
                <a:schemeClr val="tx1"/>
              </a:solidFill>
            </a:endParaRPr>
          </a:p>
          <a:p>
            <a:pPr algn="l"/>
            <a:r>
              <a:rPr lang="en-US" sz="900" b="0">
                <a:solidFill>
                  <a:schemeClr val="tx1"/>
                </a:solidFill>
              </a:rPr>
              <a:t>MP4</a:t>
            </a:r>
            <a:r>
              <a:rPr lang="en-US" sz="900" b="0" baseline="0">
                <a:solidFill>
                  <a:schemeClr val="tx1"/>
                </a:solidFill>
              </a:rPr>
              <a:t> not (yet) fully supported without </a:t>
            </a:r>
          </a:p>
          <a:p>
            <a:pPr algn="l"/>
            <a:r>
              <a:rPr lang="en-US" sz="900" b="0" baseline="0">
                <a:solidFill>
                  <a:schemeClr val="tx1"/>
                </a:solidFill>
              </a:rPr>
              <a:t>QT Player</a:t>
            </a:r>
            <a:endParaRPr lang="en-US" sz="900" b="0" dirty="0">
              <a:solidFill>
                <a:schemeClr val="tx1"/>
              </a:solidFill>
            </a:endParaRPr>
          </a:p>
        </p:txBody>
      </p:sp>
      <p:sp>
        <p:nvSpPr>
          <p:cNvPr id="12" name="Text Placeholder 9">
            <a:extLst>
              <a:ext uri="{FF2B5EF4-FFF2-40B4-BE49-F238E27FC236}">
                <a16:creationId xmlns:a16="http://schemas.microsoft.com/office/drawing/2014/main" id="{02A36365-C340-4B2C-A3E0-87591690B3EB}"/>
              </a:ext>
            </a:extLst>
          </p:cNvPr>
          <p:cNvSpPr>
            <a:spLocks noGrp="1" noChangeAspect="1"/>
          </p:cNvSpPr>
          <p:nvPr>
            <p:ph type="body" sz="quarter" idx="13" hasCustomPrompt="1"/>
          </p:nvPr>
        </p:nvSpPr>
        <p:spPr>
          <a:xfrm>
            <a:off x="7013575" y="236191"/>
            <a:ext cx="1782000" cy="260528"/>
          </a:xfrm>
          <a:blipFill>
            <a:blip r:embed="rId2"/>
            <a:stretch>
              <a:fillRect/>
            </a:stretch>
          </a:blipFill>
        </p:spPr>
        <p:txBody>
          <a:bodyPr/>
          <a:lstStyle>
            <a:lvl1pPr>
              <a:defRPr/>
            </a:lvl1pPr>
          </a:lstStyle>
          <a:p>
            <a:pPr lvl="0"/>
            <a:r>
              <a:rPr lang="en-US" dirty="0"/>
              <a:t>    </a:t>
            </a:r>
          </a:p>
        </p:txBody>
      </p:sp>
    </p:spTree>
    <p:extLst>
      <p:ext uri="{BB962C8B-B14F-4D97-AF65-F5344CB8AC3E}">
        <p14:creationId xmlns:p14="http://schemas.microsoft.com/office/powerpoint/2010/main" val="17800948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Movie without AkzoNobel logo">
    <p:bg bwMode="gray">
      <p:bgPr>
        <a:solidFill>
          <a:schemeClr val="tx1"/>
        </a:solidFill>
        <a:effectLst/>
      </p:bgPr>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B9B5C15B-E66A-4657-B051-A6E5C2D1B577}"/>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5" name="Media Placeholder 4"/>
          <p:cNvSpPr>
            <a:spLocks noGrp="1"/>
          </p:cNvSpPr>
          <p:nvPr>
            <p:ph type="media" sz="quarter" idx="10" hasCustomPrompt="1"/>
          </p:nvPr>
        </p:nvSpPr>
        <p:spPr bwMode="gray">
          <a:xfrm>
            <a:off x="0" y="0"/>
            <a:ext cx="9144000" cy="5143500"/>
          </a:xfrm>
          <a:noFill/>
        </p:spPr>
        <p:txBody>
          <a:bodyPr anchor="ctr" anchorCtr="0"/>
          <a:lstStyle>
            <a:lvl1pPr marL="0" marR="0" indent="0" algn="ctr" defTabSz="914400" rtl="0" eaLnBrk="1" fontAlgn="auto" latinLnBrk="0" hangingPunct="1">
              <a:lnSpc>
                <a:spcPts val="1400"/>
              </a:lnSpc>
              <a:spcBef>
                <a:spcPts val="0"/>
              </a:spcBef>
              <a:spcAft>
                <a:spcPts val="0"/>
              </a:spcAft>
              <a:buClr>
                <a:schemeClr val="accent4"/>
              </a:buClr>
              <a:buSzTx/>
              <a:buFont typeface="Arial" pitchFamily="34" charset="0"/>
              <a:buNone/>
              <a:tabLst/>
              <a:defRPr sz="1200" b="0">
                <a:solidFill>
                  <a:schemeClr val="bg1"/>
                </a:solidFill>
              </a:defRPr>
            </a:lvl1pPr>
          </a:lstStyle>
          <a:p>
            <a:r>
              <a:rPr lang="en-US"/>
              <a:t>Movie </a:t>
            </a:r>
            <a:endParaRPr lang="en-US" dirty="0"/>
          </a:p>
          <a:p>
            <a:r>
              <a:rPr lang="en-US"/>
              <a:t>(in WMV format for Windows platform)</a:t>
            </a:r>
            <a:endParaRPr lang="en-US" dirty="0"/>
          </a:p>
          <a:p>
            <a:endParaRPr lang="nl-NL" dirty="0"/>
          </a:p>
          <a:p>
            <a:endParaRPr lang="nl-NL" dirty="0"/>
          </a:p>
          <a:p>
            <a:endParaRPr lang="nl-NL" dirty="0"/>
          </a:p>
          <a:p>
            <a:endParaRPr lang="en-US" dirty="0"/>
          </a:p>
          <a:p>
            <a:endParaRPr lang="en-US" dirty="0"/>
          </a:p>
        </p:txBody>
      </p:sp>
      <p:sp>
        <p:nvSpPr>
          <p:cNvPr id="38" name="Rectangle 37"/>
          <p:cNvSpPr/>
          <p:nvPr/>
        </p:nvSpPr>
        <p:spPr bwMode="gray">
          <a:xfrm>
            <a:off x="9288780" y="182684"/>
            <a:ext cx="1501140" cy="1326105"/>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r>
              <a:rPr lang="en-US" sz="900" b="1">
                <a:solidFill>
                  <a:schemeClr val="tx1"/>
                </a:solidFill>
              </a:rPr>
              <a:t>Supported format for the</a:t>
            </a:r>
            <a:r>
              <a:rPr lang="en-US" sz="900" b="1" baseline="0">
                <a:solidFill>
                  <a:schemeClr val="tx1"/>
                </a:solidFill>
              </a:rPr>
              <a:t> Windows platform</a:t>
            </a:r>
            <a:endParaRPr lang="en-US" sz="900" b="1" dirty="0">
              <a:solidFill>
                <a:schemeClr val="tx1"/>
              </a:solidFill>
            </a:endParaRPr>
          </a:p>
          <a:p>
            <a:pPr algn="l"/>
            <a:r>
              <a:rPr lang="en-US" sz="900" b="0">
                <a:solidFill>
                  <a:schemeClr val="tx1"/>
                </a:solidFill>
              </a:rPr>
              <a:t>• WMV</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rPr>
              <a:t>• MPG</a:t>
            </a:r>
          </a:p>
          <a:p>
            <a:pPr algn="l"/>
            <a:endParaRPr lang="en-US" sz="900" b="0">
              <a:solidFill>
                <a:schemeClr val="tx1"/>
              </a:solidFill>
            </a:endParaRPr>
          </a:p>
          <a:p>
            <a:pPr algn="l"/>
            <a:r>
              <a:rPr lang="en-US" sz="900" b="0">
                <a:solidFill>
                  <a:schemeClr val="tx1"/>
                </a:solidFill>
              </a:rPr>
              <a:t>MP4</a:t>
            </a:r>
            <a:r>
              <a:rPr lang="en-US" sz="900" b="0" baseline="0">
                <a:solidFill>
                  <a:schemeClr val="tx1"/>
                </a:solidFill>
              </a:rPr>
              <a:t> not (yet) fully supported without </a:t>
            </a:r>
          </a:p>
          <a:p>
            <a:pPr algn="l"/>
            <a:r>
              <a:rPr lang="en-US" sz="900" b="0" baseline="0">
                <a:solidFill>
                  <a:schemeClr val="tx1"/>
                </a:solidFill>
              </a:rPr>
              <a:t>QT Player</a:t>
            </a:r>
            <a:endParaRPr lang="en-US" sz="900" b="0" dirty="0">
              <a:solidFill>
                <a:schemeClr val="tx1"/>
              </a:solidFill>
            </a:endParaRPr>
          </a:p>
        </p:txBody>
      </p:sp>
    </p:spTree>
    <p:extLst>
      <p:ext uri="{BB962C8B-B14F-4D97-AF65-F5344CB8AC3E}">
        <p14:creationId xmlns:p14="http://schemas.microsoft.com/office/powerpoint/2010/main" val="3409654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EEFF291B-2CFE-4064-9248-E0E2639B73A3}"/>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Tree>
    <p:extLst>
      <p:ext uri="{BB962C8B-B14F-4D97-AF65-F5344CB8AC3E}">
        <p14:creationId xmlns:p14="http://schemas.microsoft.com/office/powerpoint/2010/main" val="21543892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End Slide">
    <p:bg bwMode="gray">
      <p:bgPr>
        <a:gradFill>
          <a:gsLst>
            <a:gs pos="45000">
              <a:srgbClr val="56378A"/>
            </a:gs>
            <a:gs pos="10000">
              <a:srgbClr val="C3004A"/>
            </a:gs>
            <a:gs pos="95000">
              <a:srgbClr val="008BC5"/>
            </a:gs>
            <a:gs pos="75000">
              <a:srgbClr val="008BC5"/>
            </a:gs>
          </a:gsLst>
          <a:lin ang="18900000" scaled="0"/>
        </a:gradFill>
        <a:effectLst/>
      </p:bgPr>
    </p:bg>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B797376D-DE6D-4298-AB5F-64406A83EC77}"/>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2" name="Title 1"/>
          <p:cNvSpPr>
            <a:spLocks noGrp="1"/>
          </p:cNvSpPr>
          <p:nvPr>
            <p:ph type="title"/>
          </p:nvPr>
        </p:nvSpPr>
        <p:spPr bwMode="gray">
          <a:xfrm>
            <a:off x="359999" y="1753555"/>
            <a:ext cx="8431576" cy="2756533"/>
          </a:xfrm>
        </p:spPr>
        <p:txBody>
          <a:bodyPr anchor="t" anchorCtr="0"/>
          <a:lstStyle>
            <a:lvl1pPr>
              <a:lnSpc>
                <a:spcPct val="80000"/>
              </a:lnSpc>
              <a:defRPr sz="9000" b="0">
                <a:solidFill>
                  <a:schemeClr val="bg1"/>
                </a:solidFill>
              </a:defRPr>
            </a:lvl1pPr>
          </a:lstStyle>
          <a:p>
            <a:r>
              <a:rPr lang="en-US"/>
              <a:t>Click to edit Master title style</a:t>
            </a:r>
            <a:endParaRPr lang="en-GB" dirty="0"/>
          </a:p>
        </p:txBody>
      </p:sp>
      <p:grpSp>
        <p:nvGrpSpPr>
          <p:cNvPr id="3" name="Group 2">
            <a:extLst>
              <a:ext uri="{FF2B5EF4-FFF2-40B4-BE49-F238E27FC236}">
                <a16:creationId xmlns:a16="http://schemas.microsoft.com/office/drawing/2014/main" id="{B0020EA3-226E-4218-AA72-74DCF5FAD53B}"/>
              </a:ext>
            </a:extLst>
          </p:cNvPr>
          <p:cNvGrpSpPr/>
          <p:nvPr userDrawn="1"/>
        </p:nvGrpSpPr>
        <p:grpSpPr>
          <a:xfrm>
            <a:off x="5666400" y="1665898"/>
            <a:ext cx="3477600" cy="3477602"/>
            <a:chOff x="5666400" y="1665898"/>
            <a:chExt cx="3477600" cy="3477602"/>
          </a:xfrm>
        </p:grpSpPr>
        <p:sp>
          <p:nvSpPr>
            <p:cNvPr id="15" name="Right Triangle 14">
              <a:extLst>
                <a:ext uri="{FF2B5EF4-FFF2-40B4-BE49-F238E27FC236}">
                  <a16:creationId xmlns:a16="http://schemas.microsoft.com/office/drawing/2014/main" id="{7A0C16CC-2633-4079-93F6-648C429A161F}"/>
                </a:ext>
              </a:extLst>
            </p:cNvPr>
            <p:cNvSpPr>
              <a:spLocks noChangeAspect="1"/>
            </p:cNvSpPr>
            <p:nvPr userDrawn="1"/>
          </p:nvSpPr>
          <p:spPr>
            <a:xfrm rot="5400000" flipH="1" flipV="1">
              <a:off x="5666399" y="1665899"/>
              <a:ext cx="3477602" cy="3477600"/>
            </a:xfrm>
            <a:prstGeom prst="rtTriangle">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dirty="0" err="1"/>
            </a:p>
          </p:txBody>
        </p:sp>
        <p:sp>
          <p:nvSpPr>
            <p:cNvPr id="17" name="Right Triangle 16">
              <a:extLst>
                <a:ext uri="{FF2B5EF4-FFF2-40B4-BE49-F238E27FC236}">
                  <a16:creationId xmlns:a16="http://schemas.microsoft.com/office/drawing/2014/main" id="{C57195F0-8ED9-4A66-8585-BC1AD55DAB6D}"/>
                </a:ext>
              </a:extLst>
            </p:cNvPr>
            <p:cNvSpPr>
              <a:spLocks noChangeAspect="1"/>
            </p:cNvSpPr>
            <p:nvPr userDrawn="1"/>
          </p:nvSpPr>
          <p:spPr>
            <a:xfrm rot="5400000" flipH="1" flipV="1">
              <a:off x="6825599" y="2825099"/>
              <a:ext cx="2318401" cy="2318400"/>
            </a:xfrm>
            <a:prstGeom prst="rtTriangle">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dirty="0" err="1"/>
            </a:p>
          </p:txBody>
        </p:sp>
        <p:sp>
          <p:nvSpPr>
            <p:cNvPr id="16" name="Right Triangle 15">
              <a:extLst>
                <a:ext uri="{FF2B5EF4-FFF2-40B4-BE49-F238E27FC236}">
                  <a16:creationId xmlns:a16="http://schemas.microsoft.com/office/drawing/2014/main" id="{2F35587B-8EAA-4475-A7BA-44D09903E705}"/>
                </a:ext>
              </a:extLst>
            </p:cNvPr>
            <p:cNvSpPr>
              <a:spLocks noChangeAspect="1"/>
            </p:cNvSpPr>
            <p:nvPr userDrawn="1"/>
          </p:nvSpPr>
          <p:spPr>
            <a:xfrm rot="5400000" flipH="1" flipV="1">
              <a:off x="7984799" y="3984299"/>
              <a:ext cx="1159201" cy="115920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dirty="0" err="1"/>
            </a:p>
          </p:txBody>
        </p:sp>
      </p:grpSp>
      <p:pic>
        <p:nvPicPr>
          <p:cNvPr id="19" name="Picture 18">
            <a:extLst>
              <a:ext uri="{FF2B5EF4-FFF2-40B4-BE49-F238E27FC236}">
                <a16:creationId xmlns:a16="http://schemas.microsoft.com/office/drawing/2014/main" id="{982924C7-A34E-4CD0-A6AF-E5FFB5BE04B8}"/>
              </a:ext>
            </a:extLst>
          </p:cNvPr>
          <p:cNvPicPr>
            <a:picLocks noChangeAspect="1"/>
          </p:cNvPicPr>
          <p:nvPr userDrawn="1"/>
        </p:nvPicPr>
        <p:blipFill>
          <a:blip r:embed="rId2"/>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854128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Slide Number Placeholder 6"/>
          <p:cNvSpPr>
            <a:spLocks noGrp="1"/>
          </p:cNvSpPr>
          <p:nvPr>
            <p:ph type="sldNum" sz="quarter" idx="10"/>
          </p:nvPr>
        </p:nvSpPr>
        <p:spPr/>
        <p:txBody>
          <a:bodyPr/>
          <a:lstStyle/>
          <a:p>
            <a:pPr>
              <a:defRPr/>
            </a:pPr>
            <a:fld id="{537E2E77-CED1-4E84-91C2-4E0176ECD4FC}" type="slidenum">
              <a:rPr lang="nl-NL" smtClean="0"/>
              <a:pPr>
                <a:defRPr/>
              </a:pPr>
              <a:t>‹#›</a:t>
            </a:fld>
            <a:endParaRPr lang="nl-NL"/>
          </a:p>
        </p:txBody>
      </p:sp>
      <p:sp>
        <p:nvSpPr>
          <p:cNvPr id="8" name="Footer Placeholder 7"/>
          <p:cNvSpPr>
            <a:spLocks noGrp="1"/>
          </p:cNvSpPr>
          <p:nvPr>
            <p:ph type="ftr" sz="quarter" idx="11"/>
          </p:nvPr>
        </p:nvSpPr>
        <p:spPr>
          <a:xfrm>
            <a:off x="4649376" y="4948367"/>
            <a:ext cx="4130339" cy="154800"/>
          </a:xfrm>
        </p:spPr>
        <p:txBody>
          <a:bodyPr/>
          <a:lstStyle/>
          <a:p>
            <a:r>
              <a:rPr lang="nl-NL"/>
              <a:t>Decorative Paints MALAYSIA | Country KO 2017 | February 2017</a:t>
            </a:r>
          </a:p>
        </p:txBody>
      </p:sp>
      <p:sp>
        <p:nvSpPr>
          <p:cNvPr id="13" name="Text Placeholder 10"/>
          <p:cNvSpPr>
            <a:spLocks noGrp="1"/>
          </p:cNvSpPr>
          <p:nvPr>
            <p:ph type="body" sz="quarter" idx="12"/>
          </p:nvPr>
        </p:nvSpPr>
        <p:spPr>
          <a:xfrm>
            <a:off x="360000" y="1200108"/>
            <a:ext cx="8424000" cy="3456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0"/>
          <p:cNvSpPr>
            <a:spLocks noGrp="1"/>
          </p:cNvSpPr>
          <p:nvPr>
            <p:ph type="body" sz="quarter" idx="16" hasCustomPrompt="1"/>
          </p:nvPr>
        </p:nvSpPr>
        <p:spPr>
          <a:xfrm>
            <a:off x="360000" y="4875683"/>
            <a:ext cx="4145376" cy="184666"/>
          </a:xfrm>
        </p:spPr>
        <p:txBody>
          <a:bodyPr anchor="b" anchorCtr="0">
            <a:noAutofit/>
          </a:bodyPr>
          <a:lstStyle>
            <a:lvl1pPr>
              <a:spcBef>
                <a:spcPts val="0"/>
              </a:spcBef>
              <a:spcAft>
                <a:spcPts val="0"/>
              </a:spcAft>
              <a:tabLst>
                <a:tab pos="135731" algn="l"/>
              </a:tabLst>
              <a:defRPr sz="600" b="0">
                <a:solidFill>
                  <a:schemeClr val="tx2"/>
                </a:solidFill>
              </a:defRPr>
            </a:lvl1pPr>
            <a:lvl2pPr>
              <a:spcBef>
                <a:spcPts val="0"/>
              </a:spcBef>
              <a:spcAft>
                <a:spcPts val="0"/>
              </a:spcAft>
              <a:defRPr/>
            </a:lvl2pPr>
            <a:lvl3pPr>
              <a:spcBef>
                <a:spcPts val="0"/>
              </a:spcBef>
              <a:spcAft>
                <a:spcPts val="0"/>
              </a:spcAft>
              <a:defRPr/>
            </a:lvl3pPr>
            <a:lvl4pPr>
              <a:spcBef>
                <a:spcPts val="0"/>
              </a:spcBef>
              <a:spcAft>
                <a:spcPts val="0"/>
              </a:spcAft>
              <a:defRPr/>
            </a:lvl4pPr>
            <a:lvl5pPr>
              <a:spcBef>
                <a:spcPts val="0"/>
              </a:spcBef>
              <a:spcAft>
                <a:spcPts val="0"/>
              </a:spcAft>
              <a:defRPr/>
            </a:lvl5pPr>
          </a:lstStyle>
          <a:p>
            <a:pPr lvl="0"/>
            <a:r>
              <a:rPr lang="en-US"/>
              <a:t>Click to edit Source text styles Arial Regular 8pt</a:t>
            </a:r>
          </a:p>
        </p:txBody>
      </p:sp>
    </p:spTree>
    <p:extLst>
      <p:ext uri="{BB962C8B-B14F-4D97-AF65-F5344CB8AC3E}">
        <p14:creationId xmlns:p14="http://schemas.microsoft.com/office/powerpoint/2010/main" val="1016154208"/>
      </p:ext>
    </p:extLst>
  </p:cSld>
  <p:clrMapOvr>
    <a:masterClrMapping/>
  </p:clrMapOvr>
  <p:transition spd="slow">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ingle speaker">
    <p:bg bwMode="gray">
      <p:bgPr>
        <a:gradFill>
          <a:gsLst>
            <a:gs pos="45000">
              <a:srgbClr val="56378A"/>
            </a:gs>
            <a:gs pos="10000">
              <a:srgbClr val="C3004A"/>
            </a:gs>
            <a:gs pos="95000">
              <a:srgbClr val="0092BB"/>
            </a:gs>
            <a:gs pos="75000">
              <a:srgbClr val="008BC5"/>
            </a:gs>
          </a:gsLst>
          <a:lin ang="18900000" scaled="0"/>
        </a:gradFill>
        <a:effectLst/>
      </p:bgPr>
    </p:bg>
    <p:spTree>
      <p:nvGrpSpPr>
        <p:cNvPr id="1" name=""/>
        <p:cNvGrpSpPr/>
        <p:nvPr/>
      </p:nvGrpSpPr>
      <p:grpSpPr>
        <a:xfrm>
          <a:off x="0" y="0"/>
          <a:ext cx="0" cy="0"/>
          <a:chOff x="0" y="0"/>
          <a:chExt cx="0" cy="0"/>
        </a:xfrm>
      </p:grpSpPr>
      <p:sp>
        <p:nvSpPr>
          <p:cNvPr id="21" name="Freeform: Shape 20">
            <a:extLst>
              <a:ext uri="{FF2B5EF4-FFF2-40B4-BE49-F238E27FC236}">
                <a16:creationId xmlns:a16="http://schemas.microsoft.com/office/drawing/2014/main" id="{50733CC7-C8BC-48A6-914D-2279C3CA9242}"/>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45" name="Rechthoek 1"/>
          <p:cNvSpPr/>
          <p:nvPr/>
        </p:nvSpPr>
        <p:spPr bwMode="gray">
          <a:xfrm>
            <a:off x="352425" y="1563688"/>
            <a:ext cx="8439150" cy="176944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endParaRPr lang="nl-NL" dirty="0" err="1">
              <a:solidFill>
                <a:srgbClr val="FFFFFF"/>
              </a:solidFill>
            </a:endParaRPr>
          </a:p>
        </p:txBody>
      </p:sp>
      <p:sp>
        <p:nvSpPr>
          <p:cNvPr id="39" name="Rectangle 38"/>
          <p:cNvSpPr/>
          <p:nvPr/>
        </p:nvSpPr>
        <p:spPr bwMode="gray">
          <a:xfrm>
            <a:off x="6476283" y="1563688"/>
            <a:ext cx="2315292" cy="17694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pic>
        <p:nvPicPr>
          <p:cNvPr id="43" name="Picture 42" descr="Portret.png"/>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6996160" y="2057596"/>
            <a:ext cx="1275539" cy="1275539"/>
          </a:xfrm>
          <a:prstGeom prst="rect">
            <a:avLst/>
          </a:prstGeom>
        </p:spPr>
      </p:pic>
      <p:graphicFrame>
        <p:nvGraphicFramePr>
          <p:cNvPr id="37" name="Object 3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57" imgH="357" progId="TCLayout.ActiveDocument.1">
                  <p:embed/>
                </p:oleObj>
              </mc:Choice>
              <mc:Fallback>
                <p:oleObj name="think-cell Slide" r:id="rId4" imgW="357" imgH="357" progId="TCLayout.ActiveDocument.1">
                  <p:embed/>
                  <p:pic>
                    <p:nvPicPr>
                      <p:cNvPr id="37" name="Object 3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3" name="Title 52"/>
          <p:cNvSpPr>
            <a:spLocks noGrp="1"/>
          </p:cNvSpPr>
          <p:nvPr>
            <p:ph type="title" hasCustomPrompt="1"/>
          </p:nvPr>
        </p:nvSpPr>
        <p:spPr bwMode="gray">
          <a:xfrm>
            <a:off x="352425" y="1563688"/>
            <a:ext cx="6123858" cy="1769447"/>
          </a:xfrm>
        </p:spPr>
        <p:txBody>
          <a:bodyPr lIns="298800" tIns="118800" rIns="118800" bIns="93600" anchor="t" anchorCtr="0">
            <a:noAutofit/>
          </a:bodyPr>
          <a:lstStyle>
            <a:lvl1pPr>
              <a:lnSpc>
                <a:spcPct val="90000"/>
              </a:lnSpc>
              <a:defRPr sz="4000" b="0">
                <a:solidFill>
                  <a:schemeClr val="bg1"/>
                </a:solidFill>
                <a:latin typeface="+mj-lt"/>
              </a:defRPr>
            </a:lvl1pPr>
          </a:lstStyle>
          <a:p>
            <a:r>
              <a:rPr lang="en-US" dirty="0"/>
              <a:t>Click to edit </a:t>
            </a:r>
            <a:br>
              <a:rPr lang="en-US" dirty="0"/>
            </a:br>
            <a:r>
              <a:rPr lang="en-US" dirty="0"/>
              <a:t>Master </a:t>
            </a:r>
            <a:r>
              <a:rPr lang="en-US"/>
              <a:t>title style</a:t>
            </a:r>
            <a:endParaRPr lang="en-US" dirty="0"/>
          </a:p>
        </p:txBody>
      </p:sp>
      <p:sp>
        <p:nvSpPr>
          <p:cNvPr id="4" name="Picture Placeholder 3"/>
          <p:cNvSpPr>
            <a:spLocks noGrp="1"/>
          </p:cNvSpPr>
          <p:nvPr>
            <p:ph type="pic" sz="quarter" idx="17" hasCustomPrompt="1"/>
          </p:nvPr>
        </p:nvSpPr>
        <p:spPr bwMode="gray">
          <a:xfrm>
            <a:off x="6476283" y="1563688"/>
            <a:ext cx="2315292" cy="1769447"/>
          </a:xfrm>
        </p:spPr>
        <p:txBody>
          <a:bodyPr lIns="0" tIns="216000" rIns="0"/>
          <a:lstStyle>
            <a:lvl1pPr algn="ctr">
              <a:defRPr sz="1200" baseline="0">
                <a:solidFill>
                  <a:srgbClr val="B7B9BA"/>
                </a:solidFill>
              </a:defRPr>
            </a:lvl1pPr>
          </a:lstStyle>
          <a:p>
            <a:r>
              <a:rPr lang="nl-NL"/>
              <a:t>Placeholder photo speaker</a:t>
            </a:r>
            <a:endParaRPr lang="en-GB"/>
          </a:p>
        </p:txBody>
      </p:sp>
      <p:sp>
        <p:nvSpPr>
          <p:cNvPr id="2" name="Footer Placeholder 1"/>
          <p:cNvSpPr>
            <a:spLocks noGrp="1"/>
          </p:cNvSpPr>
          <p:nvPr>
            <p:ph type="ftr" sz="quarter" idx="18"/>
          </p:nvPr>
        </p:nvSpPr>
        <p:spPr bwMode="gray"/>
        <p:txBody>
          <a:bodyPr/>
          <a:lstStyle>
            <a:lvl1pPr>
              <a:defRPr>
                <a:solidFill>
                  <a:schemeClr val="bg1"/>
                </a:solidFill>
              </a:defRPr>
            </a:lvl1pPr>
          </a:lstStyle>
          <a:p>
            <a:r>
              <a:rPr lang="en-GB"/>
              <a:t>Business unit | Footer</a:t>
            </a:r>
            <a:endParaRPr lang="en-GB" dirty="0"/>
          </a:p>
        </p:txBody>
      </p:sp>
      <p:sp>
        <p:nvSpPr>
          <p:cNvPr id="3" name="Slide Number Placeholder 2"/>
          <p:cNvSpPr>
            <a:spLocks noGrp="1"/>
          </p:cNvSpPr>
          <p:nvPr>
            <p:ph type="sldNum" sz="quarter" idx="19"/>
          </p:nvPr>
        </p:nvSpPr>
        <p:spPr bwMode="gray"/>
        <p:txBody>
          <a:bodyPr/>
          <a:lstStyle>
            <a:lvl1pPr>
              <a:defRPr>
                <a:solidFill>
                  <a:schemeClr val="bg1"/>
                </a:solidFill>
              </a:defRPr>
            </a:lvl1pPr>
          </a:lstStyle>
          <a:p>
            <a:pPr>
              <a:defRPr/>
            </a:pPr>
            <a:fld id="{537E2E77-CED1-4E84-91C2-4E0176ECD4FC}" type="slidenum">
              <a:rPr lang="en-US" smtClean="0"/>
              <a:pPr>
                <a:defRPr/>
              </a:pPr>
              <a:t>‹#›</a:t>
            </a:fld>
            <a:endParaRPr lang="en-US" dirty="0"/>
          </a:p>
        </p:txBody>
      </p:sp>
      <p:pic>
        <p:nvPicPr>
          <p:cNvPr id="22" name="Picture 21">
            <a:extLst>
              <a:ext uri="{FF2B5EF4-FFF2-40B4-BE49-F238E27FC236}">
                <a16:creationId xmlns:a16="http://schemas.microsoft.com/office/drawing/2014/main" id="{22FA5598-6268-4E02-9320-E25D1831B254}"/>
              </a:ext>
            </a:extLst>
          </p:cNvPr>
          <p:cNvPicPr>
            <a:picLocks noChangeAspect="1"/>
          </p:cNvPicPr>
          <p:nvPr userDrawn="1"/>
        </p:nvPicPr>
        <p:blipFill>
          <a:blip r:embed="rId6"/>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15955086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Multi speakers">
    <p:bg bwMode="gray">
      <p:bgPr>
        <a:gradFill>
          <a:gsLst>
            <a:gs pos="45000">
              <a:srgbClr val="56378A"/>
            </a:gs>
            <a:gs pos="10000">
              <a:srgbClr val="C3004A"/>
            </a:gs>
            <a:gs pos="95000">
              <a:srgbClr val="0092BB"/>
            </a:gs>
            <a:gs pos="75000">
              <a:srgbClr val="008BC5"/>
            </a:gs>
          </a:gsLst>
          <a:lin ang="18900000" scaled="0"/>
        </a:gradFill>
        <a:effectLst/>
      </p:bgPr>
    </p:bg>
    <p:spTree>
      <p:nvGrpSpPr>
        <p:cNvPr id="1" name=""/>
        <p:cNvGrpSpPr/>
        <p:nvPr/>
      </p:nvGrpSpPr>
      <p:grpSpPr>
        <a:xfrm>
          <a:off x="0" y="0"/>
          <a:ext cx="0" cy="0"/>
          <a:chOff x="0" y="0"/>
          <a:chExt cx="0" cy="0"/>
        </a:xfrm>
      </p:grpSpPr>
      <p:sp>
        <p:nvSpPr>
          <p:cNvPr id="32" name="Freeform: Shape 31">
            <a:extLst>
              <a:ext uri="{FF2B5EF4-FFF2-40B4-BE49-F238E27FC236}">
                <a16:creationId xmlns:a16="http://schemas.microsoft.com/office/drawing/2014/main" id="{B2CA1A4F-93FF-4441-BD9E-198187015F29}"/>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aphicFrame>
        <p:nvGraphicFramePr>
          <p:cNvPr id="37" name="Object 3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37" name="Object 3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5" name="Picture Placeholder 3"/>
          <p:cNvSpPr>
            <a:spLocks noGrp="1"/>
          </p:cNvSpPr>
          <p:nvPr>
            <p:ph type="pic" sz="quarter" idx="17" hasCustomPrompt="1"/>
          </p:nvPr>
        </p:nvSpPr>
        <p:spPr bwMode="gray">
          <a:xfrm>
            <a:off x="745441" y="885825"/>
            <a:ext cx="1188000" cy="1368000"/>
          </a:xfrm>
          <a:solidFill>
            <a:srgbClr val="FFFFFF"/>
          </a:solidFill>
        </p:spPr>
        <p:txBody>
          <a:bodyPr lIns="0" tIns="216000" rIns="0"/>
          <a:lstStyle>
            <a:lvl1pPr algn="ctr">
              <a:defRPr sz="1200" baseline="0">
                <a:solidFill>
                  <a:srgbClr val="B7B9BA"/>
                </a:solidFill>
              </a:defRPr>
            </a:lvl1pPr>
          </a:lstStyle>
          <a:p>
            <a:r>
              <a:rPr lang="nl-NL"/>
              <a:t>Placeholder photo speaker</a:t>
            </a:r>
            <a:endParaRPr lang="en-GB"/>
          </a:p>
        </p:txBody>
      </p:sp>
      <p:sp>
        <p:nvSpPr>
          <p:cNvPr id="6" name="Text Placeholder 5"/>
          <p:cNvSpPr>
            <a:spLocks noGrp="1"/>
          </p:cNvSpPr>
          <p:nvPr>
            <p:ph type="body" sz="quarter" idx="18" hasCustomPrompt="1"/>
          </p:nvPr>
        </p:nvSpPr>
        <p:spPr bwMode="gray">
          <a:xfrm>
            <a:off x="352425" y="2292792"/>
            <a:ext cx="1974032" cy="432000"/>
          </a:xfrm>
        </p:spPr>
        <p:txBody>
          <a:bodyPr bIns="72000">
            <a:noAutofit/>
          </a:bodyPr>
          <a:lstStyle>
            <a:lvl1pPr algn="ctr">
              <a:spcBef>
                <a:spcPts val="0"/>
              </a:spcBef>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77" name="Picture Placeholder 3"/>
          <p:cNvSpPr>
            <a:spLocks noGrp="1"/>
          </p:cNvSpPr>
          <p:nvPr>
            <p:ph type="pic" sz="quarter" idx="19" hasCustomPrompt="1"/>
          </p:nvPr>
        </p:nvSpPr>
        <p:spPr bwMode="gray">
          <a:xfrm>
            <a:off x="2898364" y="885825"/>
            <a:ext cx="1188000" cy="1368000"/>
          </a:xfrm>
          <a:solidFill>
            <a:srgbClr val="FFFFFF"/>
          </a:solidFill>
        </p:spPr>
        <p:txBody>
          <a:bodyPr lIns="0" tIns="216000" rIns="0"/>
          <a:lstStyle>
            <a:lvl1pPr algn="ctr">
              <a:defRPr sz="1200" baseline="0">
                <a:solidFill>
                  <a:srgbClr val="B7B9BA"/>
                </a:solidFill>
              </a:defRPr>
            </a:lvl1pPr>
          </a:lstStyle>
          <a:p>
            <a:r>
              <a:rPr lang="nl-NL"/>
              <a:t>Placeholder photo speaker</a:t>
            </a:r>
            <a:endParaRPr lang="en-GB"/>
          </a:p>
        </p:txBody>
      </p:sp>
      <p:sp>
        <p:nvSpPr>
          <p:cNvPr id="78" name="Text Placeholder 5"/>
          <p:cNvSpPr>
            <a:spLocks noGrp="1"/>
          </p:cNvSpPr>
          <p:nvPr>
            <p:ph type="body" sz="quarter" idx="20" hasCustomPrompt="1"/>
          </p:nvPr>
        </p:nvSpPr>
        <p:spPr bwMode="gray">
          <a:xfrm>
            <a:off x="2505348" y="2292792"/>
            <a:ext cx="1974032" cy="432000"/>
          </a:xfrm>
        </p:spPr>
        <p:txBody>
          <a:bodyPr bIns="72000">
            <a:noAutofit/>
          </a:bodyPr>
          <a:lstStyle>
            <a:lvl1pPr algn="ctr">
              <a:spcBef>
                <a:spcPts val="0"/>
              </a:spcBef>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79" name="Picture Placeholder 3"/>
          <p:cNvSpPr>
            <a:spLocks noGrp="1"/>
          </p:cNvSpPr>
          <p:nvPr>
            <p:ph type="pic" sz="quarter" idx="21" hasCustomPrompt="1"/>
          </p:nvPr>
        </p:nvSpPr>
        <p:spPr bwMode="gray">
          <a:xfrm>
            <a:off x="5051287" y="885825"/>
            <a:ext cx="1188000" cy="1368000"/>
          </a:xfrm>
          <a:solidFill>
            <a:srgbClr val="FFFFFF"/>
          </a:solidFill>
        </p:spPr>
        <p:txBody>
          <a:bodyPr lIns="0" tIns="216000" rIns="0"/>
          <a:lstStyle>
            <a:lvl1pPr algn="ctr">
              <a:defRPr sz="1200" baseline="0">
                <a:solidFill>
                  <a:srgbClr val="B7B9BA"/>
                </a:solidFill>
              </a:defRPr>
            </a:lvl1pPr>
          </a:lstStyle>
          <a:p>
            <a:r>
              <a:rPr lang="nl-NL"/>
              <a:t>Placeholder photo speaker</a:t>
            </a:r>
            <a:endParaRPr lang="en-GB"/>
          </a:p>
        </p:txBody>
      </p:sp>
      <p:sp>
        <p:nvSpPr>
          <p:cNvPr id="80" name="Text Placeholder 5"/>
          <p:cNvSpPr>
            <a:spLocks noGrp="1"/>
          </p:cNvSpPr>
          <p:nvPr>
            <p:ph type="body" sz="quarter" idx="22" hasCustomPrompt="1"/>
          </p:nvPr>
        </p:nvSpPr>
        <p:spPr bwMode="gray">
          <a:xfrm>
            <a:off x="4658271" y="2292792"/>
            <a:ext cx="1974032" cy="432000"/>
          </a:xfrm>
        </p:spPr>
        <p:txBody>
          <a:bodyPr bIns="72000">
            <a:noAutofit/>
          </a:bodyPr>
          <a:lstStyle>
            <a:lvl1pPr algn="ctr">
              <a:spcBef>
                <a:spcPts val="0"/>
              </a:spcBef>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81" name="Picture Placeholder 3"/>
          <p:cNvSpPr>
            <a:spLocks noGrp="1"/>
          </p:cNvSpPr>
          <p:nvPr>
            <p:ph type="pic" sz="quarter" idx="23" hasCustomPrompt="1"/>
          </p:nvPr>
        </p:nvSpPr>
        <p:spPr bwMode="gray">
          <a:xfrm>
            <a:off x="7204209" y="885825"/>
            <a:ext cx="1188000" cy="1368000"/>
          </a:xfrm>
          <a:solidFill>
            <a:srgbClr val="FFFFFF"/>
          </a:solidFill>
        </p:spPr>
        <p:txBody>
          <a:bodyPr lIns="0" tIns="216000" rIns="0"/>
          <a:lstStyle>
            <a:lvl1pPr algn="ctr">
              <a:defRPr sz="1200" baseline="0">
                <a:solidFill>
                  <a:srgbClr val="B7B9BA"/>
                </a:solidFill>
              </a:defRPr>
            </a:lvl1pPr>
          </a:lstStyle>
          <a:p>
            <a:r>
              <a:rPr lang="nl-NL"/>
              <a:t>Placeholder photo speaker</a:t>
            </a:r>
            <a:endParaRPr lang="en-GB"/>
          </a:p>
        </p:txBody>
      </p:sp>
      <p:sp>
        <p:nvSpPr>
          <p:cNvPr id="82" name="Text Placeholder 5"/>
          <p:cNvSpPr>
            <a:spLocks noGrp="1"/>
          </p:cNvSpPr>
          <p:nvPr>
            <p:ph type="body" sz="quarter" idx="24" hasCustomPrompt="1"/>
          </p:nvPr>
        </p:nvSpPr>
        <p:spPr bwMode="gray">
          <a:xfrm>
            <a:off x="6811193" y="2292792"/>
            <a:ext cx="1974032" cy="432000"/>
          </a:xfrm>
        </p:spPr>
        <p:txBody>
          <a:bodyPr bIns="72000">
            <a:noAutofit/>
          </a:bodyPr>
          <a:lstStyle>
            <a:lvl1pPr algn="ctr">
              <a:spcBef>
                <a:spcPts val="0"/>
              </a:spcBef>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110" name="Picture Placeholder 3"/>
          <p:cNvSpPr>
            <a:spLocks noGrp="1"/>
          </p:cNvSpPr>
          <p:nvPr>
            <p:ph type="pic" sz="quarter" idx="25" hasCustomPrompt="1"/>
          </p:nvPr>
        </p:nvSpPr>
        <p:spPr bwMode="gray">
          <a:xfrm>
            <a:off x="745441" y="2781428"/>
            <a:ext cx="1188000" cy="1368000"/>
          </a:xfrm>
          <a:solidFill>
            <a:srgbClr val="FFFFFF"/>
          </a:solidFill>
        </p:spPr>
        <p:txBody>
          <a:bodyPr lIns="0" tIns="216000" rIns="0"/>
          <a:lstStyle>
            <a:lvl1pPr algn="ctr">
              <a:defRPr sz="1200" baseline="0">
                <a:solidFill>
                  <a:srgbClr val="B7B9BA"/>
                </a:solidFill>
              </a:defRPr>
            </a:lvl1pPr>
          </a:lstStyle>
          <a:p>
            <a:r>
              <a:rPr lang="nl-NL"/>
              <a:t>Placeholder photo speaker</a:t>
            </a:r>
            <a:endParaRPr lang="en-GB"/>
          </a:p>
        </p:txBody>
      </p:sp>
      <p:sp>
        <p:nvSpPr>
          <p:cNvPr id="111" name="Text Placeholder 5"/>
          <p:cNvSpPr>
            <a:spLocks noGrp="1"/>
          </p:cNvSpPr>
          <p:nvPr>
            <p:ph type="body" sz="quarter" idx="26" hasCustomPrompt="1"/>
          </p:nvPr>
        </p:nvSpPr>
        <p:spPr bwMode="gray">
          <a:xfrm>
            <a:off x="352425" y="4188395"/>
            <a:ext cx="1974032" cy="432000"/>
          </a:xfrm>
        </p:spPr>
        <p:txBody>
          <a:bodyPr bIns="72000">
            <a:noAutofit/>
          </a:bodyPr>
          <a:lstStyle>
            <a:lvl1pPr algn="ctr">
              <a:spcBef>
                <a:spcPts val="0"/>
              </a:spcBef>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112" name="Picture Placeholder 3"/>
          <p:cNvSpPr>
            <a:spLocks noGrp="1"/>
          </p:cNvSpPr>
          <p:nvPr>
            <p:ph type="pic" sz="quarter" idx="27" hasCustomPrompt="1"/>
          </p:nvPr>
        </p:nvSpPr>
        <p:spPr bwMode="gray">
          <a:xfrm>
            <a:off x="2898364" y="2781428"/>
            <a:ext cx="1188000" cy="1368000"/>
          </a:xfrm>
          <a:solidFill>
            <a:srgbClr val="FFFFFF"/>
          </a:solidFill>
        </p:spPr>
        <p:txBody>
          <a:bodyPr lIns="0" tIns="216000" rIns="0"/>
          <a:lstStyle>
            <a:lvl1pPr algn="ctr">
              <a:defRPr sz="1200" baseline="0">
                <a:solidFill>
                  <a:srgbClr val="B7B9BA"/>
                </a:solidFill>
              </a:defRPr>
            </a:lvl1pPr>
          </a:lstStyle>
          <a:p>
            <a:r>
              <a:rPr lang="nl-NL"/>
              <a:t>Placeholder photo speaker</a:t>
            </a:r>
            <a:endParaRPr lang="en-GB"/>
          </a:p>
        </p:txBody>
      </p:sp>
      <p:sp>
        <p:nvSpPr>
          <p:cNvPr id="113" name="Text Placeholder 5"/>
          <p:cNvSpPr>
            <a:spLocks noGrp="1"/>
          </p:cNvSpPr>
          <p:nvPr>
            <p:ph type="body" sz="quarter" idx="28" hasCustomPrompt="1"/>
          </p:nvPr>
        </p:nvSpPr>
        <p:spPr bwMode="gray">
          <a:xfrm>
            <a:off x="2505348" y="4188394"/>
            <a:ext cx="1974032" cy="432000"/>
          </a:xfrm>
        </p:spPr>
        <p:txBody>
          <a:bodyPr bIns="72000">
            <a:noAutofit/>
          </a:bodyPr>
          <a:lstStyle>
            <a:lvl1pPr algn="ctr">
              <a:spcBef>
                <a:spcPts val="0"/>
              </a:spcBef>
              <a:spcAft>
                <a:spcPts val="0"/>
              </a:spcAft>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114" name="Picture Placeholder 3"/>
          <p:cNvSpPr>
            <a:spLocks noGrp="1"/>
          </p:cNvSpPr>
          <p:nvPr>
            <p:ph type="pic" sz="quarter" idx="29" hasCustomPrompt="1"/>
          </p:nvPr>
        </p:nvSpPr>
        <p:spPr bwMode="gray">
          <a:xfrm>
            <a:off x="5051287" y="2781428"/>
            <a:ext cx="1188000" cy="1368000"/>
          </a:xfrm>
          <a:solidFill>
            <a:srgbClr val="FFFFFF"/>
          </a:solidFill>
        </p:spPr>
        <p:txBody>
          <a:bodyPr lIns="0" tIns="216000" rIns="0"/>
          <a:lstStyle>
            <a:lvl1pPr algn="ctr">
              <a:defRPr sz="1200" baseline="0">
                <a:solidFill>
                  <a:srgbClr val="B7B9BA"/>
                </a:solidFill>
              </a:defRPr>
            </a:lvl1pPr>
          </a:lstStyle>
          <a:p>
            <a:r>
              <a:rPr lang="nl-NL"/>
              <a:t>Placeholder photo speaker</a:t>
            </a:r>
            <a:endParaRPr lang="en-GB"/>
          </a:p>
        </p:txBody>
      </p:sp>
      <p:sp>
        <p:nvSpPr>
          <p:cNvPr id="115" name="Text Placeholder 5"/>
          <p:cNvSpPr>
            <a:spLocks noGrp="1"/>
          </p:cNvSpPr>
          <p:nvPr>
            <p:ph type="body" sz="quarter" idx="30" hasCustomPrompt="1"/>
          </p:nvPr>
        </p:nvSpPr>
        <p:spPr bwMode="gray">
          <a:xfrm>
            <a:off x="4658271" y="4188395"/>
            <a:ext cx="1974032" cy="432000"/>
          </a:xfrm>
        </p:spPr>
        <p:txBody>
          <a:bodyPr bIns="72000">
            <a:noAutofit/>
          </a:bodyPr>
          <a:lstStyle>
            <a:lvl1pPr algn="ctr">
              <a:spcBef>
                <a:spcPts val="0"/>
              </a:spcBef>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116" name="Picture Placeholder 3"/>
          <p:cNvSpPr>
            <a:spLocks noGrp="1"/>
          </p:cNvSpPr>
          <p:nvPr>
            <p:ph type="pic" sz="quarter" idx="31" hasCustomPrompt="1"/>
          </p:nvPr>
        </p:nvSpPr>
        <p:spPr bwMode="gray">
          <a:xfrm>
            <a:off x="7204209" y="2781428"/>
            <a:ext cx="1188000" cy="1368000"/>
          </a:xfrm>
          <a:solidFill>
            <a:srgbClr val="FFFFFF"/>
          </a:solidFill>
        </p:spPr>
        <p:txBody>
          <a:bodyPr lIns="0" tIns="216000" rIns="0"/>
          <a:lstStyle>
            <a:lvl1pPr algn="ctr">
              <a:defRPr sz="1200" baseline="0">
                <a:solidFill>
                  <a:srgbClr val="B7B9BA"/>
                </a:solidFill>
              </a:defRPr>
            </a:lvl1pPr>
          </a:lstStyle>
          <a:p>
            <a:r>
              <a:rPr lang="nl-NL"/>
              <a:t>Placeholder photo speaker</a:t>
            </a:r>
            <a:endParaRPr lang="en-GB"/>
          </a:p>
        </p:txBody>
      </p:sp>
      <p:sp>
        <p:nvSpPr>
          <p:cNvPr id="117" name="Text Placeholder 5"/>
          <p:cNvSpPr>
            <a:spLocks noGrp="1"/>
          </p:cNvSpPr>
          <p:nvPr>
            <p:ph type="body" sz="quarter" idx="32" hasCustomPrompt="1"/>
          </p:nvPr>
        </p:nvSpPr>
        <p:spPr bwMode="gray">
          <a:xfrm>
            <a:off x="6811193" y="4188395"/>
            <a:ext cx="1974032" cy="432000"/>
          </a:xfrm>
        </p:spPr>
        <p:txBody>
          <a:bodyPr bIns="72000">
            <a:noAutofit/>
          </a:bodyPr>
          <a:lstStyle>
            <a:lvl1pPr algn="ctr">
              <a:spcBef>
                <a:spcPts val="0"/>
              </a:spcBef>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18" name="Footer Placeholder 17"/>
          <p:cNvSpPr>
            <a:spLocks noGrp="1"/>
          </p:cNvSpPr>
          <p:nvPr>
            <p:ph type="ftr" sz="quarter" idx="33"/>
          </p:nvPr>
        </p:nvSpPr>
        <p:spPr bwMode="gray"/>
        <p:txBody>
          <a:bodyPr/>
          <a:lstStyle>
            <a:lvl1pPr>
              <a:defRPr>
                <a:solidFill>
                  <a:schemeClr val="bg1"/>
                </a:solidFill>
              </a:defRPr>
            </a:lvl1pPr>
          </a:lstStyle>
          <a:p>
            <a:r>
              <a:rPr lang="en-GB"/>
              <a:t>Business unit | Footer</a:t>
            </a:r>
            <a:endParaRPr lang="en-GB" dirty="0"/>
          </a:p>
        </p:txBody>
      </p:sp>
      <p:sp>
        <p:nvSpPr>
          <p:cNvPr id="19" name="Slide Number Placeholder 18"/>
          <p:cNvSpPr>
            <a:spLocks noGrp="1"/>
          </p:cNvSpPr>
          <p:nvPr>
            <p:ph type="sldNum" sz="quarter" idx="34"/>
          </p:nvPr>
        </p:nvSpPr>
        <p:spPr bwMode="gray"/>
        <p:txBody>
          <a:bodyPr/>
          <a:lstStyle>
            <a:lvl1pPr>
              <a:defRPr>
                <a:solidFill>
                  <a:schemeClr val="bg1"/>
                </a:solidFill>
              </a:defRPr>
            </a:lvl1pPr>
          </a:lstStyle>
          <a:p>
            <a:pPr>
              <a:defRPr/>
            </a:pPr>
            <a:fld id="{537E2E77-CED1-4E84-91C2-4E0176ECD4FC}" type="slidenum">
              <a:rPr lang="en-US" smtClean="0"/>
              <a:pPr>
                <a:defRPr/>
              </a:pPr>
              <a:t>‹#›</a:t>
            </a:fld>
            <a:endParaRPr lang="en-US" dirty="0"/>
          </a:p>
        </p:txBody>
      </p:sp>
      <p:pic>
        <p:nvPicPr>
          <p:cNvPr id="33" name="Picture 32">
            <a:extLst>
              <a:ext uri="{FF2B5EF4-FFF2-40B4-BE49-F238E27FC236}">
                <a16:creationId xmlns:a16="http://schemas.microsoft.com/office/drawing/2014/main" id="{63ADF2C3-00B0-4FBD-9139-05547B8F79C9}"/>
              </a:ext>
            </a:extLst>
          </p:cNvPr>
          <p:cNvPicPr>
            <a:picLocks noChangeAspect="1"/>
          </p:cNvPicPr>
          <p:nvPr userDrawn="1"/>
        </p:nvPicPr>
        <p:blipFill>
          <a:blip r:embed="rId5"/>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23009725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Agenda Slide Option 1">
    <p:bg bwMode="gray">
      <p:bgPr>
        <a:gradFill>
          <a:gsLst>
            <a:gs pos="45000">
              <a:srgbClr val="56378A"/>
            </a:gs>
            <a:gs pos="10000">
              <a:srgbClr val="C3004A"/>
            </a:gs>
            <a:gs pos="95000">
              <a:srgbClr val="0092BB"/>
            </a:gs>
            <a:gs pos="75000">
              <a:srgbClr val="008BC5"/>
            </a:gs>
          </a:gsLst>
          <a:lin ang="18900000" scaled="0"/>
        </a:gradFill>
        <a:effectLst/>
      </p:bgPr>
    </p:bg>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D1D8099E-7306-4550-AE5C-175997108AC2}"/>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83" name="Text Placeholder 82"/>
          <p:cNvSpPr>
            <a:spLocks noGrp="1"/>
          </p:cNvSpPr>
          <p:nvPr>
            <p:ph type="body" sz="quarter" idx="25"/>
          </p:nvPr>
        </p:nvSpPr>
        <p:spPr bwMode="gray">
          <a:xfrm>
            <a:off x="358776" y="3896360"/>
            <a:ext cx="8432799"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908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94" name="Text Placeholder 93"/>
          <p:cNvSpPr>
            <a:spLocks noGrp="1"/>
          </p:cNvSpPr>
          <p:nvPr>
            <p:ph type="body" sz="quarter" idx="31" hasCustomPrompt="1"/>
          </p:nvPr>
        </p:nvSpPr>
        <p:spPr bwMode="gray">
          <a:xfrm>
            <a:off x="352426" y="3896360"/>
            <a:ext cx="1786870" cy="619609"/>
          </a:xfrm>
          <a:custGeom>
            <a:avLst/>
            <a:gdLst>
              <a:gd name="connsiteX0" fmla="*/ 0 w 1786870"/>
              <a:gd name="connsiteY0" fmla="*/ 0 h 619609"/>
              <a:gd name="connsiteX1" fmla="*/ 1477066 w 1786870"/>
              <a:gd name="connsiteY1" fmla="*/ 0 h 619609"/>
              <a:gd name="connsiteX2" fmla="*/ 1786870 w 1786870"/>
              <a:gd name="connsiteY2" fmla="*/ 309805 h 619609"/>
              <a:gd name="connsiteX3" fmla="*/ 1477066 w 1786870"/>
              <a:gd name="connsiteY3" fmla="*/ 619609 h 619609"/>
              <a:gd name="connsiteX4" fmla="*/ 0 w 1786870"/>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6870" h="619609">
                <a:moveTo>
                  <a:pt x="0" y="0"/>
                </a:moveTo>
                <a:lnTo>
                  <a:pt x="1477066" y="0"/>
                </a:lnTo>
                <a:lnTo>
                  <a:pt x="1786870" y="309805"/>
                </a:lnTo>
                <a:lnTo>
                  <a:pt x="1477066"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80" name="Text Placeholder 79"/>
          <p:cNvSpPr>
            <a:spLocks noGrp="1"/>
          </p:cNvSpPr>
          <p:nvPr>
            <p:ph type="body" sz="quarter" idx="23"/>
          </p:nvPr>
        </p:nvSpPr>
        <p:spPr bwMode="gray">
          <a:xfrm>
            <a:off x="358776" y="3200133"/>
            <a:ext cx="8432799"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908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93" name="Text Placeholder 92"/>
          <p:cNvSpPr>
            <a:spLocks noGrp="1"/>
          </p:cNvSpPr>
          <p:nvPr>
            <p:ph type="body" sz="quarter" idx="30" hasCustomPrompt="1"/>
          </p:nvPr>
        </p:nvSpPr>
        <p:spPr bwMode="gray">
          <a:xfrm>
            <a:off x="352426" y="3200133"/>
            <a:ext cx="1786870" cy="619609"/>
          </a:xfrm>
          <a:custGeom>
            <a:avLst/>
            <a:gdLst>
              <a:gd name="connsiteX0" fmla="*/ 0 w 1786870"/>
              <a:gd name="connsiteY0" fmla="*/ 0 h 619609"/>
              <a:gd name="connsiteX1" fmla="*/ 1477066 w 1786870"/>
              <a:gd name="connsiteY1" fmla="*/ 0 h 619609"/>
              <a:gd name="connsiteX2" fmla="*/ 1786870 w 1786870"/>
              <a:gd name="connsiteY2" fmla="*/ 309805 h 619609"/>
              <a:gd name="connsiteX3" fmla="*/ 1477066 w 1786870"/>
              <a:gd name="connsiteY3" fmla="*/ 619609 h 619609"/>
              <a:gd name="connsiteX4" fmla="*/ 0 w 1786870"/>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6870" h="619609">
                <a:moveTo>
                  <a:pt x="0" y="0"/>
                </a:moveTo>
                <a:lnTo>
                  <a:pt x="1477066" y="0"/>
                </a:lnTo>
                <a:lnTo>
                  <a:pt x="1786870" y="309805"/>
                </a:lnTo>
                <a:lnTo>
                  <a:pt x="1477066"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77" name="Text Placeholder 76"/>
          <p:cNvSpPr>
            <a:spLocks noGrp="1"/>
          </p:cNvSpPr>
          <p:nvPr>
            <p:ph type="body" sz="quarter" idx="21"/>
          </p:nvPr>
        </p:nvSpPr>
        <p:spPr bwMode="gray">
          <a:xfrm>
            <a:off x="358776" y="2503906"/>
            <a:ext cx="8432799"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908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92" name="Text Placeholder 91"/>
          <p:cNvSpPr>
            <a:spLocks noGrp="1"/>
          </p:cNvSpPr>
          <p:nvPr>
            <p:ph type="body" sz="quarter" idx="29" hasCustomPrompt="1"/>
          </p:nvPr>
        </p:nvSpPr>
        <p:spPr bwMode="gray">
          <a:xfrm>
            <a:off x="352426" y="2503906"/>
            <a:ext cx="1786870" cy="619609"/>
          </a:xfrm>
          <a:custGeom>
            <a:avLst/>
            <a:gdLst>
              <a:gd name="connsiteX0" fmla="*/ 0 w 1786870"/>
              <a:gd name="connsiteY0" fmla="*/ 0 h 619609"/>
              <a:gd name="connsiteX1" fmla="*/ 1477066 w 1786870"/>
              <a:gd name="connsiteY1" fmla="*/ 0 h 619609"/>
              <a:gd name="connsiteX2" fmla="*/ 1786870 w 1786870"/>
              <a:gd name="connsiteY2" fmla="*/ 309805 h 619609"/>
              <a:gd name="connsiteX3" fmla="*/ 1477066 w 1786870"/>
              <a:gd name="connsiteY3" fmla="*/ 619609 h 619609"/>
              <a:gd name="connsiteX4" fmla="*/ 0 w 1786870"/>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6870" h="619609">
                <a:moveTo>
                  <a:pt x="0" y="0"/>
                </a:moveTo>
                <a:lnTo>
                  <a:pt x="1477066" y="0"/>
                </a:lnTo>
                <a:lnTo>
                  <a:pt x="1786870" y="309805"/>
                </a:lnTo>
                <a:lnTo>
                  <a:pt x="1477066"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74" name="Text Placeholder 73"/>
          <p:cNvSpPr>
            <a:spLocks noGrp="1"/>
          </p:cNvSpPr>
          <p:nvPr>
            <p:ph type="body" sz="quarter" idx="19"/>
          </p:nvPr>
        </p:nvSpPr>
        <p:spPr bwMode="gray">
          <a:xfrm>
            <a:off x="358776" y="1807679"/>
            <a:ext cx="8432799"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908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91" name="Text Placeholder 90"/>
          <p:cNvSpPr>
            <a:spLocks noGrp="1"/>
          </p:cNvSpPr>
          <p:nvPr>
            <p:ph type="body" sz="quarter" idx="28" hasCustomPrompt="1"/>
          </p:nvPr>
        </p:nvSpPr>
        <p:spPr bwMode="gray">
          <a:xfrm>
            <a:off x="352426" y="1807679"/>
            <a:ext cx="1786870" cy="619609"/>
          </a:xfrm>
          <a:custGeom>
            <a:avLst/>
            <a:gdLst>
              <a:gd name="connsiteX0" fmla="*/ 0 w 1786870"/>
              <a:gd name="connsiteY0" fmla="*/ 0 h 619609"/>
              <a:gd name="connsiteX1" fmla="*/ 1477066 w 1786870"/>
              <a:gd name="connsiteY1" fmla="*/ 0 h 619609"/>
              <a:gd name="connsiteX2" fmla="*/ 1786870 w 1786870"/>
              <a:gd name="connsiteY2" fmla="*/ 309805 h 619609"/>
              <a:gd name="connsiteX3" fmla="*/ 1477066 w 1786870"/>
              <a:gd name="connsiteY3" fmla="*/ 619609 h 619609"/>
              <a:gd name="connsiteX4" fmla="*/ 0 w 1786870"/>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6870" h="619609">
                <a:moveTo>
                  <a:pt x="0" y="0"/>
                </a:moveTo>
                <a:lnTo>
                  <a:pt x="1477066" y="0"/>
                </a:lnTo>
                <a:lnTo>
                  <a:pt x="1786870" y="309805"/>
                </a:lnTo>
                <a:lnTo>
                  <a:pt x="1477066"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41" name="Text Placeholder 40"/>
          <p:cNvSpPr>
            <a:spLocks noGrp="1"/>
          </p:cNvSpPr>
          <p:nvPr>
            <p:ph type="body" sz="quarter" idx="18"/>
          </p:nvPr>
        </p:nvSpPr>
        <p:spPr bwMode="gray">
          <a:xfrm>
            <a:off x="358776" y="1111452"/>
            <a:ext cx="8432799"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908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graphicFrame>
        <p:nvGraphicFramePr>
          <p:cNvPr id="32" name="Object 3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32" name="Object 3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9" name="Text Placeholder 88"/>
          <p:cNvSpPr>
            <a:spLocks noGrp="1"/>
          </p:cNvSpPr>
          <p:nvPr>
            <p:ph type="body" sz="quarter" idx="27" hasCustomPrompt="1"/>
          </p:nvPr>
        </p:nvSpPr>
        <p:spPr bwMode="gray">
          <a:xfrm>
            <a:off x="352426" y="1111452"/>
            <a:ext cx="1786870" cy="619609"/>
          </a:xfrm>
          <a:custGeom>
            <a:avLst/>
            <a:gdLst>
              <a:gd name="connsiteX0" fmla="*/ 0 w 1786870"/>
              <a:gd name="connsiteY0" fmla="*/ 0 h 619609"/>
              <a:gd name="connsiteX1" fmla="*/ 1477066 w 1786870"/>
              <a:gd name="connsiteY1" fmla="*/ 0 h 619609"/>
              <a:gd name="connsiteX2" fmla="*/ 1786870 w 1786870"/>
              <a:gd name="connsiteY2" fmla="*/ 309805 h 619609"/>
              <a:gd name="connsiteX3" fmla="*/ 1477066 w 1786870"/>
              <a:gd name="connsiteY3" fmla="*/ 619609 h 619609"/>
              <a:gd name="connsiteX4" fmla="*/ 0 w 1786870"/>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6870" h="619609">
                <a:moveTo>
                  <a:pt x="0" y="0"/>
                </a:moveTo>
                <a:lnTo>
                  <a:pt x="1477066" y="0"/>
                </a:lnTo>
                <a:lnTo>
                  <a:pt x="1786870" y="309805"/>
                </a:lnTo>
                <a:lnTo>
                  <a:pt x="1477066"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39" name="Picture Placeholder 38"/>
          <p:cNvSpPr>
            <a:spLocks noGrp="1"/>
          </p:cNvSpPr>
          <p:nvPr>
            <p:ph type="pic" sz="quarter" idx="17" hasCustomPrompt="1"/>
          </p:nvPr>
        </p:nvSpPr>
        <p:spPr bwMode="gray">
          <a:xfrm>
            <a:off x="915953" y="1207720"/>
            <a:ext cx="427072" cy="427072"/>
          </a:xfrm>
          <a:prstGeom prst="rect">
            <a:avLst/>
          </a:prstGeom>
          <a:noFill/>
        </p:spPr>
        <p:txBody>
          <a:bodyPr wrap="square" anchor="ctr" anchorCtr="0">
            <a:noAutofit/>
          </a:bodyPr>
          <a:lstStyle>
            <a:lvl1pPr algn="ctr">
              <a:defRPr sz="800" b="0">
                <a:solidFill>
                  <a:schemeClr val="tx1"/>
                </a:solidFill>
              </a:defRPr>
            </a:lvl1pPr>
          </a:lstStyle>
          <a:p>
            <a:r>
              <a:rPr lang="nl-NL" dirty="0"/>
              <a:t>Icon</a:t>
            </a:r>
            <a:endParaRPr lang="en-GB" dirty="0"/>
          </a:p>
        </p:txBody>
      </p:sp>
      <p:sp>
        <p:nvSpPr>
          <p:cNvPr id="76" name="Picture Placeholder 75"/>
          <p:cNvSpPr>
            <a:spLocks noGrp="1"/>
          </p:cNvSpPr>
          <p:nvPr>
            <p:ph type="pic" sz="quarter" idx="20" hasCustomPrompt="1"/>
          </p:nvPr>
        </p:nvSpPr>
        <p:spPr bwMode="gray">
          <a:xfrm>
            <a:off x="915953" y="1903947"/>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79" name="Picture Placeholder 78"/>
          <p:cNvSpPr>
            <a:spLocks noGrp="1"/>
          </p:cNvSpPr>
          <p:nvPr>
            <p:ph type="pic" sz="quarter" idx="22" hasCustomPrompt="1"/>
          </p:nvPr>
        </p:nvSpPr>
        <p:spPr bwMode="gray">
          <a:xfrm>
            <a:off x="915953" y="2600174"/>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82" name="Picture Placeholder 81"/>
          <p:cNvSpPr>
            <a:spLocks noGrp="1"/>
          </p:cNvSpPr>
          <p:nvPr>
            <p:ph type="pic" sz="quarter" idx="24" hasCustomPrompt="1"/>
          </p:nvPr>
        </p:nvSpPr>
        <p:spPr bwMode="gray">
          <a:xfrm>
            <a:off x="915953" y="3296401"/>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85" name="Picture Placeholder 84"/>
          <p:cNvSpPr>
            <a:spLocks noGrp="1"/>
          </p:cNvSpPr>
          <p:nvPr>
            <p:ph type="pic" sz="quarter" idx="26" hasCustomPrompt="1"/>
          </p:nvPr>
        </p:nvSpPr>
        <p:spPr bwMode="gray">
          <a:xfrm>
            <a:off x="915953" y="3992628"/>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2" name="Title 1"/>
          <p:cNvSpPr>
            <a:spLocks noGrp="1"/>
          </p:cNvSpPr>
          <p:nvPr>
            <p:ph type="title"/>
          </p:nvPr>
        </p:nvSpPr>
        <p:spPr bwMode="gray"/>
        <p:txBody>
          <a:bodyPr/>
          <a:lstStyle>
            <a:lvl1pPr>
              <a:defRPr>
                <a:solidFill>
                  <a:schemeClr val="bg1"/>
                </a:solidFill>
              </a:defRPr>
            </a:lvl1pPr>
          </a:lstStyle>
          <a:p>
            <a:r>
              <a:rPr lang="en-US"/>
              <a:t>Click to edit Master title style</a:t>
            </a:r>
            <a:endParaRPr lang="en-GB"/>
          </a:p>
        </p:txBody>
      </p:sp>
      <p:sp>
        <p:nvSpPr>
          <p:cNvPr id="4" name="Footer Placeholder 3"/>
          <p:cNvSpPr>
            <a:spLocks noGrp="1"/>
          </p:cNvSpPr>
          <p:nvPr>
            <p:ph type="ftr" sz="quarter" idx="32"/>
          </p:nvPr>
        </p:nvSpPr>
        <p:spPr bwMode="gray"/>
        <p:txBody>
          <a:bodyPr/>
          <a:lstStyle>
            <a:lvl1pPr>
              <a:defRPr>
                <a:solidFill>
                  <a:schemeClr val="bg1"/>
                </a:solidFill>
              </a:defRPr>
            </a:lvl1pPr>
          </a:lstStyle>
          <a:p>
            <a:r>
              <a:rPr lang="en-US"/>
              <a:t>Business unit | Footer</a:t>
            </a:r>
            <a:endParaRPr lang="en-US" dirty="0"/>
          </a:p>
        </p:txBody>
      </p:sp>
      <p:sp>
        <p:nvSpPr>
          <p:cNvPr id="5" name="Slide Number Placeholder 4"/>
          <p:cNvSpPr>
            <a:spLocks noGrp="1"/>
          </p:cNvSpPr>
          <p:nvPr>
            <p:ph type="sldNum" sz="quarter" idx="33"/>
          </p:nvPr>
        </p:nvSpPr>
        <p:spPr bwMode="gray"/>
        <p:txBody>
          <a:bodyPr/>
          <a:lstStyle>
            <a:lvl1pPr>
              <a:defRPr>
                <a:solidFill>
                  <a:schemeClr val="bg1"/>
                </a:solidFill>
              </a:defRPr>
            </a:lvl1pPr>
          </a:lstStyle>
          <a:p>
            <a:pPr>
              <a:defRPr/>
            </a:pPr>
            <a:fld id="{537E2E77-CED1-4E84-91C2-4E0176ECD4FC}" type="slidenum">
              <a:rPr lang="en-US" smtClean="0"/>
              <a:pPr>
                <a:defRPr/>
              </a:pPr>
              <a:t>‹#›</a:t>
            </a:fld>
            <a:endParaRPr lang="en-US" dirty="0"/>
          </a:p>
        </p:txBody>
      </p:sp>
      <p:pic>
        <p:nvPicPr>
          <p:cNvPr id="47" name="Picture 46">
            <a:extLst>
              <a:ext uri="{FF2B5EF4-FFF2-40B4-BE49-F238E27FC236}">
                <a16:creationId xmlns:a16="http://schemas.microsoft.com/office/drawing/2014/main" id="{977BD3CF-AC2B-4C76-817C-442399EEA193}"/>
              </a:ext>
            </a:extLst>
          </p:cNvPr>
          <p:cNvPicPr>
            <a:picLocks noChangeAspect="1"/>
          </p:cNvPicPr>
          <p:nvPr userDrawn="1"/>
        </p:nvPicPr>
        <p:blipFill>
          <a:blip r:embed="rId5"/>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40254993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Slide Option 3">
    <p:bg bwMode="gray">
      <p:bgPr>
        <a:gradFill>
          <a:gsLst>
            <a:gs pos="45000">
              <a:srgbClr val="56378A"/>
            </a:gs>
            <a:gs pos="10000">
              <a:srgbClr val="C3004A"/>
            </a:gs>
            <a:gs pos="95000">
              <a:srgbClr val="0092BB"/>
            </a:gs>
            <a:gs pos="75000">
              <a:srgbClr val="008BC5"/>
            </a:gs>
          </a:gsLst>
          <a:lin ang="18900000" scaled="0"/>
        </a:gradFill>
        <a:effectLst/>
      </p:bgPr>
    </p:bg>
    <p:spTree>
      <p:nvGrpSpPr>
        <p:cNvPr id="1" name=""/>
        <p:cNvGrpSpPr/>
        <p:nvPr/>
      </p:nvGrpSpPr>
      <p:grpSpPr>
        <a:xfrm>
          <a:off x="0" y="0"/>
          <a:ext cx="0" cy="0"/>
          <a:chOff x="0" y="0"/>
          <a:chExt cx="0" cy="0"/>
        </a:xfrm>
      </p:grpSpPr>
      <p:sp>
        <p:nvSpPr>
          <p:cNvPr id="47" name="Freeform: Shape 46">
            <a:extLst>
              <a:ext uri="{FF2B5EF4-FFF2-40B4-BE49-F238E27FC236}">
                <a16:creationId xmlns:a16="http://schemas.microsoft.com/office/drawing/2014/main" id="{DB2116A9-0496-4E1A-A495-093BAF5935CB}"/>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41" name="Text Placeholder 40"/>
          <p:cNvSpPr>
            <a:spLocks noGrp="1"/>
          </p:cNvSpPr>
          <p:nvPr>
            <p:ph type="body" sz="quarter" idx="18"/>
          </p:nvPr>
        </p:nvSpPr>
        <p:spPr bwMode="gray">
          <a:xfrm>
            <a:off x="358776" y="1111452"/>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graphicFrame>
        <p:nvGraphicFramePr>
          <p:cNvPr id="32" name="Object 3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32" name="Object 3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8" name="Text Placeholder 127"/>
          <p:cNvSpPr>
            <a:spLocks noGrp="1"/>
          </p:cNvSpPr>
          <p:nvPr>
            <p:ph type="body" sz="quarter" idx="27" hasCustomPrompt="1"/>
          </p:nvPr>
        </p:nvSpPr>
        <p:spPr bwMode="gray">
          <a:xfrm>
            <a:off x="358777" y="1111452"/>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39" name="Picture Placeholder 38"/>
          <p:cNvSpPr>
            <a:spLocks noGrp="1"/>
          </p:cNvSpPr>
          <p:nvPr>
            <p:ph type="pic" sz="quarter" idx="17" hasCustomPrompt="1"/>
          </p:nvPr>
        </p:nvSpPr>
        <p:spPr bwMode="gray">
          <a:xfrm>
            <a:off x="530987" y="1207720"/>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2" name="Title 1"/>
          <p:cNvSpPr>
            <a:spLocks noGrp="1"/>
          </p:cNvSpPr>
          <p:nvPr>
            <p:ph type="title"/>
          </p:nvPr>
        </p:nvSpPr>
        <p:spPr bwMode="gray"/>
        <p:txBody>
          <a:bodyPr/>
          <a:lstStyle>
            <a:lvl1pPr>
              <a:defRPr>
                <a:solidFill>
                  <a:schemeClr val="bg1"/>
                </a:solidFill>
              </a:defRPr>
            </a:lvl1pPr>
          </a:lstStyle>
          <a:p>
            <a:r>
              <a:rPr lang="en-US"/>
              <a:t>Click to edit Master title style</a:t>
            </a:r>
            <a:endParaRPr lang="en-GB"/>
          </a:p>
        </p:txBody>
      </p:sp>
      <p:sp>
        <p:nvSpPr>
          <p:cNvPr id="4" name="Footer Placeholder 3"/>
          <p:cNvSpPr>
            <a:spLocks noGrp="1"/>
          </p:cNvSpPr>
          <p:nvPr>
            <p:ph type="ftr" sz="quarter" idx="32"/>
          </p:nvPr>
        </p:nvSpPr>
        <p:spPr bwMode="gray"/>
        <p:txBody>
          <a:bodyPr/>
          <a:lstStyle>
            <a:lvl1pPr>
              <a:defRPr>
                <a:solidFill>
                  <a:schemeClr val="bg1"/>
                </a:solidFill>
              </a:defRPr>
            </a:lvl1pPr>
          </a:lstStyle>
          <a:p>
            <a:r>
              <a:rPr lang="en-US"/>
              <a:t>Business unit | Footer</a:t>
            </a:r>
            <a:endParaRPr lang="en-US" dirty="0"/>
          </a:p>
        </p:txBody>
      </p:sp>
      <p:sp>
        <p:nvSpPr>
          <p:cNvPr id="5" name="Slide Number Placeholder 4"/>
          <p:cNvSpPr>
            <a:spLocks noGrp="1"/>
          </p:cNvSpPr>
          <p:nvPr>
            <p:ph type="sldNum" sz="quarter" idx="33"/>
          </p:nvPr>
        </p:nvSpPr>
        <p:spPr bwMode="gray"/>
        <p:txBody>
          <a:bodyPr/>
          <a:lstStyle>
            <a:lvl1pPr>
              <a:defRPr>
                <a:solidFill>
                  <a:schemeClr val="bg1"/>
                </a:solidFill>
              </a:defRPr>
            </a:lvl1pPr>
          </a:lstStyle>
          <a:p>
            <a:pPr>
              <a:defRPr/>
            </a:pPr>
            <a:fld id="{537E2E77-CED1-4E84-91C2-4E0176ECD4FC}" type="slidenum">
              <a:rPr lang="en-US" smtClean="0"/>
              <a:pPr>
                <a:defRPr/>
              </a:pPr>
              <a:t>‹#›</a:t>
            </a:fld>
            <a:endParaRPr lang="en-US" dirty="0"/>
          </a:p>
        </p:txBody>
      </p:sp>
      <p:sp>
        <p:nvSpPr>
          <p:cNvPr id="186" name="Text Placeholder 73"/>
          <p:cNvSpPr>
            <a:spLocks noGrp="1"/>
          </p:cNvSpPr>
          <p:nvPr>
            <p:ph type="body" sz="quarter" idx="19"/>
          </p:nvPr>
        </p:nvSpPr>
        <p:spPr bwMode="gray">
          <a:xfrm>
            <a:off x="358776" y="1807679"/>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187" name="Text Placeholder 186"/>
          <p:cNvSpPr>
            <a:spLocks noGrp="1"/>
          </p:cNvSpPr>
          <p:nvPr>
            <p:ph type="body" sz="quarter" idx="28" hasCustomPrompt="1"/>
          </p:nvPr>
        </p:nvSpPr>
        <p:spPr bwMode="gray">
          <a:xfrm>
            <a:off x="358777" y="1807679"/>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188" name="Picture Placeholder 75"/>
          <p:cNvSpPr>
            <a:spLocks noGrp="1"/>
          </p:cNvSpPr>
          <p:nvPr>
            <p:ph type="pic" sz="quarter" idx="20" hasCustomPrompt="1"/>
          </p:nvPr>
        </p:nvSpPr>
        <p:spPr bwMode="gray">
          <a:xfrm>
            <a:off x="530987" y="1903947"/>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211" name="Text Placeholder 76"/>
          <p:cNvSpPr>
            <a:spLocks noGrp="1"/>
          </p:cNvSpPr>
          <p:nvPr>
            <p:ph type="body" sz="quarter" idx="21"/>
          </p:nvPr>
        </p:nvSpPr>
        <p:spPr bwMode="gray">
          <a:xfrm>
            <a:off x="358776" y="2503906"/>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212" name="Text Placeholder 211"/>
          <p:cNvSpPr>
            <a:spLocks noGrp="1"/>
          </p:cNvSpPr>
          <p:nvPr>
            <p:ph type="body" sz="quarter" idx="29" hasCustomPrompt="1"/>
          </p:nvPr>
        </p:nvSpPr>
        <p:spPr bwMode="gray">
          <a:xfrm>
            <a:off x="358777" y="2503906"/>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213" name="Picture Placeholder 78"/>
          <p:cNvSpPr>
            <a:spLocks noGrp="1"/>
          </p:cNvSpPr>
          <p:nvPr>
            <p:ph type="pic" sz="quarter" idx="22" hasCustomPrompt="1"/>
          </p:nvPr>
        </p:nvSpPr>
        <p:spPr bwMode="gray">
          <a:xfrm>
            <a:off x="530987" y="2600174"/>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233" name="Text Placeholder 79"/>
          <p:cNvSpPr>
            <a:spLocks noGrp="1"/>
          </p:cNvSpPr>
          <p:nvPr>
            <p:ph type="body" sz="quarter" idx="23"/>
          </p:nvPr>
        </p:nvSpPr>
        <p:spPr bwMode="gray">
          <a:xfrm>
            <a:off x="358776" y="3200133"/>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234" name="Text Placeholder 233"/>
          <p:cNvSpPr>
            <a:spLocks noGrp="1"/>
          </p:cNvSpPr>
          <p:nvPr>
            <p:ph type="body" sz="quarter" idx="30" hasCustomPrompt="1"/>
          </p:nvPr>
        </p:nvSpPr>
        <p:spPr bwMode="gray">
          <a:xfrm>
            <a:off x="358777" y="3200133"/>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235" name="Picture Placeholder 81"/>
          <p:cNvSpPr>
            <a:spLocks noGrp="1"/>
          </p:cNvSpPr>
          <p:nvPr>
            <p:ph type="pic" sz="quarter" idx="24" hasCustomPrompt="1"/>
          </p:nvPr>
        </p:nvSpPr>
        <p:spPr bwMode="gray">
          <a:xfrm>
            <a:off x="530987" y="3296401"/>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252" name="Text Placeholder 82"/>
          <p:cNvSpPr>
            <a:spLocks noGrp="1"/>
          </p:cNvSpPr>
          <p:nvPr>
            <p:ph type="body" sz="quarter" idx="25"/>
          </p:nvPr>
        </p:nvSpPr>
        <p:spPr bwMode="gray">
          <a:xfrm>
            <a:off x="358776" y="3896360"/>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253" name="Text Placeholder 252"/>
          <p:cNvSpPr>
            <a:spLocks noGrp="1"/>
          </p:cNvSpPr>
          <p:nvPr>
            <p:ph type="body" sz="quarter" idx="31" hasCustomPrompt="1"/>
          </p:nvPr>
        </p:nvSpPr>
        <p:spPr bwMode="gray">
          <a:xfrm>
            <a:off x="358777" y="3896360"/>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254" name="Picture Placeholder 84"/>
          <p:cNvSpPr>
            <a:spLocks noGrp="1"/>
          </p:cNvSpPr>
          <p:nvPr>
            <p:ph type="pic" sz="quarter" idx="26" hasCustomPrompt="1"/>
          </p:nvPr>
        </p:nvSpPr>
        <p:spPr bwMode="gray">
          <a:xfrm>
            <a:off x="530987" y="3992628"/>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48" name="Text Placeholder 40"/>
          <p:cNvSpPr>
            <a:spLocks noGrp="1"/>
          </p:cNvSpPr>
          <p:nvPr>
            <p:ph type="body" sz="quarter" idx="42"/>
          </p:nvPr>
        </p:nvSpPr>
        <p:spPr bwMode="gray">
          <a:xfrm>
            <a:off x="4648618" y="1111452"/>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49" name="Text Placeholder 278"/>
          <p:cNvSpPr>
            <a:spLocks noGrp="1"/>
          </p:cNvSpPr>
          <p:nvPr>
            <p:ph type="body" sz="quarter" idx="43" hasCustomPrompt="1"/>
          </p:nvPr>
        </p:nvSpPr>
        <p:spPr bwMode="gray">
          <a:xfrm>
            <a:off x="4649412" y="1111452"/>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50" name="Picture Placeholder 38"/>
          <p:cNvSpPr>
            <a:spLocks noGrp="1"/>
          </p:cNvSpPr>
          <p:nvPr>
            <p:ph type="pic" sz="quarter" idx="44" hasCustomPrompt="1"/>
          </p:nvPr>
        </p:nvSpPr>
        <p:spPr bwMode="gray">
          <a:xfrm>
            <a:off x="4821622" y="1207720"/>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51" name="Text Placeholder 73"/>
          <p:cNvSpPr>
            <a:spLocks noGrp="1"/>
          </p:cNvSpPr>
          <p:nvPr>
            <p:ph type="body" sz="quarter" idx="40"/>
          </p:nvPr>
        </p:nvSpPr>
        <p:spPr bwMode="gray">
          <a:xfrm>
            <a:off x="4648618" y="1807679"/>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52" name="Text Placeholder 291"/>
          <p:cNvSpPr>
            <a:spLocks noGrp="1"/>
          </p:cNvSpPr>
          <p:nvPr>
            <p:ph type="body" sz="quarter" idx="41" hasCustomPrompt="1"/>
          </p:nvPr>
        </p:nvSpPr>
        <p:spPr bwMode="gray">
          <a:xfrm>
            <a:off x="4649412" y="1807679"/>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53" name="Picture Placeholder 75"/>
          <p:cNvSpPr>
            <a:spLocks noGrp="1"/>
          </p:cNvSpPr>
          <p:nvPr>
            <p:ph type="pic" sz="quarter" idx="45" hasCustomPrompt="1"/>
          </p:nvPr>
        </p:nvSpPr>
        <p:spPr bwMode="gray">
          <a:xfrm>
            <a:off x="4821622" y="1903947"/>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54" name="Text Placeholder 76"/>
          <p:cNvSpPr>
            <a:spLocks noGrp="1"/>
          </p:cNvSpPr>
          <p:nvPr>
            <p:ph type="body" sz="quarter" idx="38"/>
          </p:nvPr>
        </p:nvSpPr>
        <p:spPr bwMode="gray">
          <a:xfrm>
            <a:off x="4648618" y="2503906"/>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55" name="Text Placeholder 301"/>
          <p:cNvSpPr>
            <a:spLocks noGrp="1"/>
          </p:cNvSpPr>
          <p:nvPr>
            <p:ph type="body" sz="quarter" idx="39" hasCustomPrompt="1"/>
          </p:nvPr>
        </p:nvSpPr>
        <p:spPr bwMode="gray">
          <a:xfrm>
            <a:off x="4649412" y="2503906"/>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56" name="Picture Placeholder 78"/>
          <p:cNvSpPr>
            <a:spLocks noGrp="1"/>
          </p:cNvSpPr>
          <p:nvPr>
            <p:ph type="pic" sz="quarter" idx="46" hasCustomPrompt="1"/>
          </p:nvPr>
        </p:nvSpPr>
        <p:spPr bwMode="gray">
          <a:xfrm>
            <a:off x="4821622" y="2600174"/>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57" name="Text Placeholder 79"/>
          <p:cNvSpPr>
            <a:spLocks noGrp="1"/>
          </p:cNvSpPr>
          <p:nvPr>
            <p:ph type="body" sz="quarter" idx="36"/>
          </p:nvPr>
        </p:nvSpPr>
        <p:spPr bwMode="gray">
          <a:xfrm>
            <a:off x="4648618" y="3200133"/>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59" name="Text Placeholder 308"/>
          <p:cNvSpPr>
            <a:spLocks noGrp="1"/>
          </p:cNvSpPr>
          <p:nvPr>
            <p:ph type="body" sz="quarter" idx="37" hasCustomPrompt="1"/>
          </p:nvPr>
        </p:nvSpPr>
        <p:spPr bwMode="gray">
          <a:xfrm>
            <a:off x="4649412" y="3200133"/>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60" name="Picture Placeholder 81"/>
          <p:cNvSpPr>
            <a:spLocks noGrp="1"/>
          </p:cNvSpPr>
          <p:nvPr>
            <p:ph type="pic" sz="quarter" idx="47" hasCustomPrompt="1"/>
          </p:nvPr>
        </p:nvSpPr>
        <p:spPr bwMode="gray">
          <a:xfrm>
            <a:off x="4821622" y="3296401"/>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61" name="Text Placeholder 82"/>
          <p:cNvSpPr>
            <a:spLocks noGrp="1"/>
          </p:cNvSpPr>
          <p:nvPr>
            <p:ph type="body" sz="quarter" idx="34"/>
          </p:nvPr>
        </p:nvSpPr>
        <p:spPr bwMode="gray">
          <a:xfrm>
            <a:off x="4648618" y="3896360"/>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62" name="Text Placeholder 312"/>
          <p:cNvSpPr>
            <a:spLocks noGrp="1"/>
          </p:cNvSpPr>
          <p:nvPr>
            <p:ph type="body" sz="quarter" idx="35" hasCustomPrompt="1"/>
          </p:nvPr>
        </p:nvSpPr>
        <p:spPr bwMode="gray">
          <a:xfrm>
            <a:off x="4649412" y="3896360"/>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63" name="Picture Placeholder 84"/>
          <p:cNvSpPr>
            <a:spLocks noGrp="1"/>
          </p:cNvSpPr>
          <p:nvPr>
            <p:ph type="pic" sz="quarter" idx="48" hasCustomPrompt="1"/>
          </p:nvPr>
        </p:nvSpPr>
        <p:spPr bwMode="gray">
          <a:xfrm>
            <a:off x="4821622" y="3992628"/>
            <a:ext cx="427072" cy="427072"/>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pic>
        <p:nvPicPr>
          <p:cNvPr id="58" name="Picture 57">
            <a:extLst>
              <a:ext uri="{FF2B5EF4-FFF2-40B4-BE49-F238E27FC236}">
                <a16:creationId xmlns:a16="http://schemas.microsoft.com/office/drawing/2014/main" id="{7F914DF9-1E14-43E7-8FCC-51510C235AFB}"/>
              </a:ext>
            </a:extLst>
          </p:cNvPr>
          <p:cNvPicPr>
            <a:picLocks noChangeAspect="1"/>
          </p:cNvPicPr>
          <p:nvPr userDrawn="1"/>
        </p:nvPicPr>
        <p:blipFill>
          <a:blip r:embed="rId5"/>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7242059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ixed Content">
    <p:bg bwMode="gray">
      <p:bgRef idx="1001">
        <a:schemeClr val="bg1"/>
      </p:bgRef>
    </p:bg>
    <p:spTree>
      <p:nvGrpSpPr>
        <p:cNvPr id="1" name=""/>
        <p:cNvGrpSpPr/>
        <p:nvPr/>
      </p:nvGrpSpPr>
      <p:grpSpPr>
        <a:xfrm>
          <a:off x="0" y="0"/>
          <a:ext cx="0" cy="0"/>
          <a:chOff x="0" y="0"/>
          <a:chExt cx="0" cy="0"/>
        </a:xfrm>
      </p:grpSpPr>
      <p:sp>
        <p:nvSpPr>
          <p:cNvPr id="24" name="Picture Placeholder 13"/>
          <p:cNvSpPr>
            <a:spLocks noGrp="1"/>
          </p:cNvSpPr>
          <p:nvPr>
            <p:ph type="pic" sz="quarter" idx="18"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25" name="Text Placeholder 4"/>
          <p:cNvSpPr>
            <a:spLocks noGrp="1"/>
          </p:cNvSpPr>
          <p:nvPr>
            <p:ph type="body" sz="quarter" idx="17"/>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37" name="Footer Placeholder 36"/>
          <p:cNvSpPr>
            <a:spLocks noGrp="1"/>
          </p:cNvSpPr>
          <p:nvPr>
            <p:ph type="ftr" sz="quarter" idx="19"/>
          </p:nvPr>
        </p:nvSpPr>
        <p:spPr bwMode="gray"/>
        <p:txBody>
          <a:bodyPr/>
          <a:lstStyle/>
          <a:p>
            <a:r>
              <a:rPr lang="en-US" noProof="0"/>
              <a:t>Business unit | Footer</a:t>
            </a:r>
            <a:endParaRPr lang="en-US" noProof="0" dirty="0"/>
          </a:p>
        </p:txBody>
      </p:sp>
      <p:sp>
        <p:nvSpPr>
          <p:cNvPr id="38" name="Slide Number Placeholder 37"/>
          <p:cNvSpPr>
            <a:spLocks noGrp="1"/>
          </p:cNvSpPr>
          <p:nvPr>
            <p:ph type="sldNum" sz="quarter" idx="20"/>
          </p:nvPr>
        </p:nvSpPr>
        <p:spPr bwMode="gray"/>
        <p:txBody>
          <a:bodyPr/>
          <a:lstStyle/>
          <a:p>
            <a:pPr>
              <a:defRPr/>
            </a:pPr>
            <a:fld id="{537E2E77-CED1-4E84-91C2-4E0176ECD4FC}" type="slidenum">
              <a:rPr lang="en-US" noProof="0" smtClean="0"/>
              <a:pPr>
                <a:defRPr/>
              </a:pPr>
              <a:t>‹#›</a:t>
            </a:fld>
            <a:endParaRPr lang="en-US" noProof="0" dirty="0"/>
          </a:p>
        </p:txBody>
      </p:sp>
      <p:sp>
        <p:nvSpPr>
          <p:cNvPr id="23" name="Content Placeholder 2"/>
          <p:cNvSpPr>
            <a:spLocks noGrp="1"/>
          </p:cNvSpPr>
          <p:nvPr>
            <p:ph idx="1"/>
          </p:nvPr>
        </p:nvSpPr>
        <p:spPr bwMode="gray">
          <a:xfrm>
            <a:off x="352426" y="974122"/>
            <a:ext cx="84384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0"/>
          <p:cNvSpPr>
            <a:spLocks noGrp="1"/>
          </p:cNvSpPr>
          <p:nvPr>
            <p:ph type="body" sz="quarter" idx="16" hasCustomPrompt="1"/>
          </p:nvPr>
        </p:nvSpPr>
        <p:spPr bwMode="gray">
          <a:xfrm>
            <a:off x="352426" y="4546964"/>
            <a:ext cx="8438400" cy="102592"/>
          </a:xfrm>
        </p:spPr>
        <p:txBody>
          <a:bodyPr anchor="b" anchorCtr="0">
            <a:spAutoFit/>
          </a:bodyPr>
          <a:lstStyle>
            <a:lvl1pPr>
              <a:lnSpc>
                <a:spcPts val="800"/>
              </a:lnSpc>
              <a:spcBef>
                <a:spcPts val="0"/>
              </a:spcBef>
              <a:spcAft>
                <a:spcPts val="0"/>
              </a:spcAft>
              <a:tabLst>
                <a:tab pos="180975" algn="l"/>
              </a:tabLst>
              <a:defRPr sz="800" b="0">
                <a:solidFill>
                  <a:schemeClr val="tx2"/>
                </a:solidFill>
              </a:defRPr>
            </a:lvl1pPr>
            <a:lvl2pPr>
              <a:spcBef>
                <a:spcPts val="0"/>
              </a:spcBef>
              <a:spcAft>
                <a:spcPts val="0"/>
              </a:spcAft>
              <a:defRPr/>
            </a:lvl2pPr>
            <a:lvl3pPr>
              <a:spcBef>
                <a:spcPts val="0"/>
              </a:spcBef>
              <a:spcAft>
                <a:spcPts val="0"/>
              </a:spcAft>
              <a:defRPr/>
            </a:lvl3pPr>
            <a:lvl4pPr>
              <a:spcBef>
                <a:spcPts val="0"/>
              </a:spcBef>
              <a:spcAft>
                <a:spcPts val="0"/>
              </a:spcAft>
              <a:defRPr/>
            </a:lvl4pPr>
            <a:lvl5pPr>
              <a:spcBef>
                <a:spcPts val="0"/>
              </a:spcBef>
              <a:spcAft>
                <a:spcPts val="0"/>
              </a:spcAft>
              <a:defRPr/>
            </a:lvl5pPr>
          </a:lstStyle>
          <a:p>
            <a:pPr lvl="0"/>
            <a:r>
              <a:rPr lang="en-US" dirty="0"/>
              <a:t>Click to </a:t>
            </a:r>
            <a:r>
              <a:rPr lang="en-US"/>
              <a:t>edit Source </a:t>
            </a:r>
            <a:r>
              <a:rPr lang="en-US" dirty="0"/>
              <a:t>text styles Arial Regular 8pt</a:t>
            </a:r>
          </a:p>
        </p:txBody>
      </p:sp>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83601430"/>
      </p:ext>
    </p:extLst>
  </p:cSld>
  <p:clrMapOvr>
    <a:masterClrMapping/>
  </p:clrMapOvr>
  <p:extLst>
    <p:ext uri="{DCECCB84-F9BA-43D5-87BE-67443E8EF086}">
      <p15:sldGuideLst xmlns:p15="http://schemas.microsoft.com/office/powerpoint/2012/main">
        <p15:guide id="1" pos="5270" userDrawn="1">
          <p15:clr>
            <a:srgbClr val="FBAE40"/>
          </p15:clr>
        </p15:guide>
        <p15:guide id="2" pos="490" userDrawn="1">
          <p15:clr>
            <a:srgbClr val="FBAE40"/>
          </p15:clr>
        </p15:guide>
        <p15:guide id="3" orient="horz" pos="797" userDrawn="1">
          <p15:clr>
            <a:srgbClr val="FBAE40"/>
          </p15:clr>
        </p15:guide>
        <p15:guide id="4" orient="horz" pos="265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Mixed Content">
    <p:bg bwMode="gray">
      <p:bgRef idx="1001">
        <a:schemeClr val="bg1"/>
      </p:bgRef>
    </p:bg>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bwMode="gray"/>
        <p:txBody>
          <a:bodyPr/>
          <a:lstStyle/>
          <a:p>
            <a:pPr>
              <a:defRPr/>
            </a:pPr>
            <a:fld id="{537E2E77-CED1-4E84-91C2-4E0176ECD4FC}" type="slidenum">
              <a:rPr lang="nl-NL" smtClean="0"/>
              <a:pPr>
                <a:defRPr/>
              </a:pPr>
              <a:t>‹#›</a:t>
            </a:fld>
            <a:endParaRPr lang="nl-NL" dirty="0"/>
          </a:p>
        </p:txBody>
      </p:sp>
      <p:sp>
        <p:nvSpPr>
          <p:cNvPr id="9" name="Footer Placeholder 8"/>
          <p:cNvSpPr>
            <a:spLocks noGrp="1"/>
          </p:cNvSpPr>
          <p:nvPr>
            <p:ph type="ftr" sz="quarter" idx="11"/>
          </p:nvPr>
        </p:nvSpPr>
        <p:spPr bwMode="gray"/>
        <p:txBody>
          <a:bodyPr/>
          <a:lstStyle/>
          <a:p>
            <a:r>
              <a:rPr lang="nl-NL"/>
              <a:t>Business unit | Footer</a:t>
            </a:r>
            <a:endParaRPr lang="nl-NL" dirty="0"/>
          </a:p>
        </p:txBody>
      </p:sp>
      <p:sp>
        <p:nvSpPr>
          <p:cNvPr id="17" name="Content Placeholder 16"/>
          <p:cNvSpPr>
            <a:spLocks noGrp="1"/>
          </p:cNvSpPr>
          <p:nvPr>
            <p:ph sz="quarter" idx="18"/>
          </p:nvPr>
        </p:nvSpPr>
        <p:spPr bwMode="gray">
          <a:xfrm>
            <a:off x="352425" y="974122"/>
            <a:ext cx="4140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p:cNvSpPr>
            <a:spLocks noGrp="1"/>
          </p:cNvSpPr>
          <p:nvPr>
            <p:ph sz="quarter" idx="19"/>
          </p:nvPr>
        </p:nvSpPr>
        <p:spPr bwMode="gray">
          <a:xfrm>
            <a:off x="4651575" y="974122"/>
            <a:ext cx="4140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13"/>
          <p:cNvSpPr>
            <a:spLocks noGrp="1"/>
          </p:cNvSpPr>
          <p:nvPr>
            <p:ph type="pic" sz="quarter" idx="21"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15" name="Text Placeholder 4"/>
          <p:cNvSpPr>
            <a:spLocks noGrp="1"/>
          </p:cNvSpPr>
          <p:nvPr>
            <p:ph type="body" sz="quarter" idx="17"/>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4" name="Title 3"/>
          <p:cNvSpPr>
            <a:spLocks noGrp="1"/>
          </p:cNvSpPr>
          <p:nvPr>
            <p:ph type="title"/>
          </p:nvPr>
        </p:nvSpPr>
        <p:spPr bwMode="gray">
          <a:xfrm>
            <a:off x="352425" y="164631"/>
            <a:ext cx="6487573" cy="720000"/>
          </a:xfrm>
        </p:spPr>
        <p:txBody>
          <a:bodyPr/>
          <a:lstStyle/>
          <a:p>
            <a:r>
              <a:rPr lang="en-US"/>
              <a:t>Click to edit Master title style</a:t>
            </a:r>
            <a:endParaRPr lang="en-GB"/>
          </a:p>
        </p:txBody>
      </p:sp>
      <p:sp>
        <p:nvSpPr>
          <p:cNvPr id="10" name="Text Placeholder 30"/>
          <p:cNvSpPr>
            <a:spLocks noGrp="1"/>
          </p:cNvSpPr>
          <p:nvPr>
            <p:ph type="body" sz="quarter" idx="16" hasCustomPrompt="1"/>
          </p:nvPr>
        </p:nvSpPr>
        <p:spPr bwMode="gray">
          <a:xfrm>
            <a:off x="352425" y="4546964"/>
            <a:ext cx="8438400" cy="102592"/>
          </a:xfrm>
        </p:spPr>
        <p:txBody>
          <a:bodyPr anchor="b" anchorCtr="0">
            <a:spAutoFit/>
          </a:bodyPr>
          <a:lstStyle>
            <a:lvl1pPr>
              <a:lnSpc>
                <a:spcPts val="800"/>
              </a:lnSpc>
              <a:spcBef>
                <a:spcPts val="0"/>
              </a:spcBef>
              <a:spcAft>
                <a:spcPts val="0"/>
              </a:spcAft>
              <a:tabLst>
                <a:tab pos="180975" algn="l"/>
              </a:tabLst>
              <a:defRPr sz="800" b="0">
                <a:solidFill>
                  <a:schemeClr val="tx2"/>
                </a:solidFill>
              </a:defRPr>
            </a:lvl1pPr>
            <a:lvl2pPr>
              <a:spcBef>
                <a:spcPts val="0"/>
              </a:spcBef>
              <a:spcAft>
                <a:spcPts val="0"/>
              </a:spcAft>
              <a:defRPr/>
            </a:lvl2pPr>
            <a:lvl3pPr>
              <a:spcBef>
                <a:spcPts val="0"/>
              </a:spcBef>
              <a:spcAft>
                <a:spcPts val="0"/>
              </a:spcAft>
              <a:defRPr/>
            </a:lvl3pPr>
            <a:lvl4pPr>
              <a:spcBef>
                <a:spcPts val="0"/>
              </a:spcBef>
              <a:spcAft>
                <a:spcPts val="0"/>
              </a:spcAft>
              <a:defRPr/>
            </a:lvl4pPr>
            <a:lvl5pPr>
              <a:spcBef>
                <a:spcPts val="0"/>
              </a:spcBef>
              <a:spcAft>
                <a:spcPts val="0"/>
              </a:spcAft>
              <a:defRPr/>
            </a:lvl5pPr>
          </a:lstStyle>
          <a:p>
            <a:pPr lvl="0"/>
            <a:r>
              <a:rPr lang="en-US" dirty="0"/>
              <a:t>Click to </a:t>
            </a:r>
            <a:r>
              <a:rPr lang="en-US"/>
              <a:t>edit Source </a:t>
            </a:r>
            <a:r>
              <a:rPr lang="en-US" dirty="0"/>
              <a:t>text styles Arial Regular 8pt</a:t>
            </a:r>
          </a:p>
        </p:txBody>
      </p:sp>
    </p:spTree>
    <p:extLst>
      <p:ext uri="{BB962C8B-B14F-4D97-AF65-F5344CB8AC3E}">
        <p14:creationId xmlns:p14="http://schemas.microsoft.com/office/powerpoint/2010/main" val="28852946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Mixed Content">
    <p:bg bwMode="gray">
      <p:bgRef idx="1001">
        <a:schemeClr val="bg1"/>
      </p:bgRef>
    </p:bg>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bwMode="gray"/>
        <p:txBody>
          <a:bodyPr/>
          <a:lstStyle/>
          <a:p>
            <a:pPr>
              <a:defRPr/>
            </a:pPr>
            <a:fld id="{537E2E77-CED1-4E84-91C2-4E0176ECD4FC}" type="slidenum">
              <a:rPr lang="nl-NL" smtClean="0"/>
              <a:pPr>
                <a:defRPr/>
              </a:pPr>
              <a:t>‹#›</a:t>
            </a:fld>
            <a:endParaRPr lang="nl-NL" dirty="0"/>
          </a:p>
        </p:txBody>
      </p:sp>
      <p:sp>
        <p:nvSpPr>
          <p:cNvPr id="9" name="Footer Placeholder 8"/>
          <p:cNvSpPr>
            <a:spLocks noGrp="1"/>
          </p:cNvSpPr>
          <p:nvPr>
            <p:ph type="ftr" sz="quarter" idx="11"/>
          </p:nvPr>
        </p:nvSpPr>
        <p:spPr bwMode="gray"/>
        <p:txBody>
          <a:bodyPr/>
          <a:lstStyle/>
          <a:p>
            <a:r>
              <a:rPr lang="nl-NL"/>
              <a:t>Business unit | Footer</a:t>
            </a:r>
            <a:endParaRPr lang="nl-NL" dirty="0"/>
          </a:p>
        </p:txBody>
      </p:sp>
      <p:sp>
        <p:nvSpPr>
          <p:cNvPr id="17" name="Content Placeholder 16"/>
          <p:cNvSpPr>
            <a:spLocks noGrp="1"/>
          </p:cNvSpPr>
          <p:nvPr>
            <p:ph sz="quarter" idx="18"/>
          </p:nvPr>
        </p:nvSpPr>
        <p:spPr bwMode="gray">
          <a:xfrm>
            <a:off x="352425" y="974122"/>
            <a:ext cx="271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p:cNvSpPr>
            <a:spLocks noGrp="1"/>
          </p:cNvSpPr>
          <p:nvPr>
            <p:ph sz="quarter" idx="19"/>
          </p:nvPr>
        </p:nvSpPr>
        <p:spPr bwMode="gray">
          <a:xfrm>
            <a:off x="3213000" y="974122"/>
            <a:ext cx="271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6"/>
          <p:cNvSpPr>
            <a:spLocks noGrp="1"/>
          </p:cNvSpPr>
          <p:nvPr>
            <p:ph sz="quarter" idx="20"/>
          </p:nvPr>
        </p:nvSpPr>
        <p:spPr bwMode="gray">
          <a:xfrm>
            <a:off x="6073575" y="974122"/>
            <a:ext cx="271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a:xfrm>
            <a:off x="352425" y="164631"/>
            <a:ext cx="6487573" cy="720000"/>
          </a:xfrm>
        </p:spPr>
        <p:txBody>
          <a:bodyPr/>
          <a:lstStyle/>
          <a:p>
            <a:r>
              <a:rPr lang="en-US"/>
              <a:t>Click to edit Master title style</a:t>
            </a:r>
            <a:endParaRPr lang="en-GB"/>
          </a:p>
        </p:txBody>
      </p:sp>
      <p:sp>
        <p:nvSpPr>
          <p:cNvPr id="13" name="Picture Placeholder 13"/>
          <p:cNvSpPr>
            <a:spLocks noGrp="1"/>
          </p:cNvSpPr>
          <p:nvPr>
            <p:ph type="pic" sz="quarter" idx="22"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14" name="Text Placeholder 4"/>
          <p:cNvSpPr>
            <a:spLocks noGrp="1"/>
          </p:cNvSpPr>
          <p:nvPr>
            <p:ph type="body" sz="quarter" idx="17"/>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12" name="Text Placeholder 30"/>
          <p:cNvSpPr>
            <a:spLocks noGrp="1"/>
          </p:cNvSpPr>
          <p:nvPr>
            <p:ph type="body" sz="quarter" idx="16" hasCustomPrompt="1"/>
          </p:nvPr>
        </p:nvSpPr>
        <p:spPr bwMode="gray">
          <a:xfrm>
            <a:off x="352425" y="4546964"/>
            <a:ext cx="8438400" cy="102592"/>
          </a:xfrm>
        </p:spPr>
        <p:txBody>
          <a:bodyPr anchor="b" anchorCtr="0">
            <a:spAutoFit/>
          </a:bodyPr>
          <a:lstStyle>
            <a:lvl1pPr>
              <a:lnSpc>
                <a:spcPts val="800"/>
              </a:lnSpc>
              <a:spcBef>
                <a:spcPts val="0"/>
              </a:spcBef>
              <a:spcAft>
                <a:spcPts val="0"/>
              </a:spcAft>
              <a:tabLst>
                <a:tab pos="180975" algn="l"/>
              </a:tabLst>
              <a:defRPr sz="800" b="0">
                <a:solidFill>
                  <a:schemeClr val="tx2"/>
                </a:solidFill>
              </a:defRPr>
            </a:lvl1pPr>
            <a:lvl2pPr>
              <a:spcBef>
                <a:spcPts val="0"/>
              </a:spcBef>
              <a:spcAft>
                <a:spcPts val="0"/>
              </a:spcAft>
              <a:defRPr/>
            </a:lvl2pPr>
            <a:lvl3pPr>
              <a:spcBef>
                <a:spcPts val="0"/>
              </a:spcBef>
              <a:spcAft>
                <a:spcPts val="0"/>
              </a:spcAft>
              <a:defRPr/>
            </a:lvl3pPr>
            <a:lvl4pPr>
              <a:spcBef>
                <a:spcPts val="0"/>
              </a:spcBef>
              <a:spcAft>
                <a:spcPts val="0"/>
              </a:spcAft>
              <a:defRPr/>
            </a:lvl4pPr>
            <a:lvl5pPr>
              <a:spcBef>
                <a:spcPts val="0"/>
              </a:spcBef>
              <a:spcAft>
                <a:spcPts val="0"/>
              </a:spcAft>
              <a:defRPr/>
            </a:lvl5pPr>
          </a:lstStyle>
          <a:p>
            <a:pPr lvl="0"/>
            <a:r>
              <a:rPr lang="en-US" dirty="0"/>
              <a:t>Click to </a:t>
            </a:r>
            <a:r>
              <a:rPr lang="en-US"/>
              <a:t>edit Source </a:t>
            </a:r>
            <a:r>
              <a:rPr lang="en-US" dirty="0"/>
              <a:t>text styles Arial Regular 8pt</a:t>
            </a:r>
          </a:p>
        </p:txBody>
      </p:sp>
    </p:spTree>
    <p:extLst>
      <p:ext uri="{BB962C8B-B14F-4D97-AF65-F5344CB8AC3E}">
        <p14:creationId xmlns:p14="http://schemas.microsoft.com/office/powerpoint/2010/main" val="4624879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35"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37" name="Freeform: Shape 36">
            <a:extLst>
              <a:ext uri="{FF2B5EF4-FFF2-40B4-BE49-F238E27FC236}">
                <a16:creationId xmlns:a16="http://schemas.microsoft.com/office/drawing/2014/main" id="{410A2CB5-E3C0-458F-AECB-D45C116B99A0}"/>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nvGrpSpPr>
          <p:cNvPr id="4" name="Group 3"/>
          <p:cNvGrpSpPr/>
          <p:nvPr/>
        </p:nvGrpSpPr>
        <p:grpSpPr bwMode="gray">
          <a:xfrm>
            <a:off x="0" y="4682937"/>
            <a:ext cx="9144000" cy="460563"/>
            <a:chOff x="0" y="4682937"/>
            <a:chExt cx="9144000" cy="460563"/>
          </a:xfrm>
        </p:grpSpPr>
        <p:sp>
          <p:nvSpPr>
            <p:cNvPr id="43" name="Rectangle 42"/>
            <p:cNvSpPr/>
            <p:nvPr/>
          </p:nvSpPr>
          <p:spPr bwMode="gray">
            <a:xfrm>
              <a:off x="0" y="4691514"/>
              <a:ext cx="9144000" cy="4519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3" name="Rectangle 22"/>
            <p:cNvSpPr/>
            <p:nvPr/>
          </p:nvSpPr>
          <p:spPr bwMode="gray">
            <a:xfrm>
              <a:off x="0" y="4682937"/>
              <a:ext cx="9144000" cy="14400"/>
            </a:xfrm>
            <a:prstGeom prst="rect">
              <a:avLst/>
            </a:prstGeom>
            <a:solidFill>
              <a:srgbClr val="B7B9BA"/>
            </a:solidFill>
            <a:ln w="63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aphicFrame>
        <p:nvGraphicFramePr>
          <p:cNvPr id="46" name="Object 45" hidden="1"/>
          <p:cNvGraphicFramePr>
            <a:graphicFrameLocks noChangeAspect="1"/>
          </p:cNvGraphicFramePr>
          <p:nvPr>
            <p:custDataLst>
              <p:tags r:id="rId3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1" imgW="357" imgH="357" progId="">
                  <p:embed/>
                </p:oleObj>
              </mc:Choice>
              <mc:Fallback>
                <p:oleObj name="think-cell Slide" r:id="rId31" imgW="357" imgH="357" progId="">
                  <p:embed/>
                  <p:pic>
                    <p:nvPicPr>
                      <p:cNvPr id="46" name="Object 45"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352425" y="164631"/>
            <a:ext cx="6487573" cy="720000"/>
          </a:xfrm>
          <a:prstGeom prst="rect">
            <a:avLst/>
          </a:prstGeom>
        </p:spPr>
        <p:txBody>
          <a:bodyPr wrap="square" lIns="0" tIns="0" rIns="0" bIns="0" rtlCol="0" anchor="b" anchorCtr="0">
            <a:noAutofit/>
          </a:bodyPr>
          <a:lstStyle/>
          <a:p>
            <a:r>
              <a:rPr lang="en-US" noProof="0" dirty="0"/>
              <a:t>Click to edit </a:t>
            </a:r>
            <a:br>
              <a:rPr lang="en-US" noProof="0" dirty="0"/>
            </a:br>
            <a:r>
              <a:rPr lang="en-US" noProof="0" dirty="0"/>
              <a:t>Master title style</a:t>
            </a:r>
          </a:p>
        </p:txBody>
      </p:sp>
      <p:sp>
        <p:nvSpPr>
          <p:cNvPr id="3" name="Text Placeholder 2"/>
          <p:cNvSpPr>
            <a:spLocks noGrp="1"/>
          </p:cNvSpPr>
          <p:nvPr>
            <p:ph type="body" idx="1"/>
          </p:nvPr>
        </p:nvSpPr>
        <p:spPr bwMode="gray">
          <a:xfrm>
            <a:off x="352426" y="969360"/>
            <a:ext cx="8439150" cy="35280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Footer Placeholder 4"/>
          <p:cNvSpPr>
            <a:spLocks noGrp="1"/>
          </p:cNvSpPr>
          <p:nvPr>
            <p:ph type="ftr" sz="quarter" idx="3"/>
          </p:nvPr>
        </p:nvSpPr>
        <p:spPr bwMode="gray">
          <a:xfrm>
            <a:off x="5957693" y="4769594"/>
            <a:ext cx="2827532" cy="288000"/>
          </a:xfrm>
          <a:prstGeom prst="rect">
            <a:avLst/>
          </a:prstGeom>
          <a:noFill/>
        </p:spPr>
        <p:txBody>
          <a:bodyPr wrap="square" lIns="0" tIns="0" rIns="0" bIns="0" rtlCol="0" anchor="ctr" anchorCtr="0">
            <a:noAutofit/>
          </a:bodyPr>
          <a:lstStyle>
            <a:lvl1pPr marL="0" algn="r" defTabSz="914400" rtl="0" eaLnBrk="1" latinLnBrk="0" hangingPunct="1">
              <a:defRPr lang="en-US" sz="1000" b="1" kern="1200" smtClean="0">
                <a:solidFill>
                  <a:srgbClr val="B7B9BA"/>
                </a:solidFill>
                <a:latin typeface="+mn-lt"/>
                <a:ea typeface="+mn-ea"/>
                <a:cs typeface="+mn-cs"/>
              </a:defRPr>
            </a:lvl1pPr>
          </a:lstStyle>
          <a:p>
            <a:r>
              <a:rPr lang="en-US" noProof="0"/>
              <a:t>Business unit | Footer</a:t>
            </a:r>
            <a:endParaRPr lang="en-US" noProof="0" dirty="0"/>
          </a:p>
        </p:txBody>
      </p:sp>
      <p:sp>
        <p:nvSpPr>
          <p:cNvPr id="11" name="Slide Number Placeholder 5"/>
          <p:cNvSpPr>
            <a:spLocks noGrp="1"/>
          </p:cNvSpPr>
          <p:nvPr>
            <p:ph type="sldNum" sz="quarter" idx="4"/>
          </p:nvPr>
        </p:nvSpPr>
        <p:spPr bwMode="gray">
          <a:xfrm>
            <a:off x="8791575" y="4769594"/>
            <a:ext cx="252000" cy="288000"/>
          </a:xfrm>
          <a:prstGeom prst="rect">
            <a:avLst/>
          </a:prstGeom>
          <a:noFill/>
        </p:spPr>
        <p:txBody>
          <a:bodyPr wrap="square" lIns="0" tIns="0" rIns="0" bIns="0" rtlCol="0" anchor="ctr" anchorCtr="0">
            <a:noAutofit/>
          </a:bodyPr>
          <a:lstStyle>
            <a:lvl1pPr marL="0" algn="r" defTabSz="914400" rtl="0" eaLnBrk="1" latinLnBrk="0" hangingPunct="1">
              <a:defRPr lang="nl-NL" sz="1000" b="1" kern="1200" smtClean="0">
                <a:solidFill>
                  <a:srgbClr val="B7B9BA"/>
                </a:solidFill>
                <a:latin typeface="+mn-lt"/>
                <a:ea typeface="+mn-ea"/>
                <a:cs typeface="+mn-cs"/>
              </a:defRPr>
            </a:lvl1pPr>
          </a:lstStyle>
          <a:p>
            <a:pPr>
              <a:defRPr/>
            </a:pPr>
            <a:fld id="{537E2E77-CED1-4E84-91C2-4E0176ECD4FC}" type="slidenum">
              <a:rPr lang="en-US" smtClean="0"/>
              <a:pPr>
                <a:defRPr/>
              </a:pPr>
              <a:t>‹#›</a:t>
            </a:fld>
            <a:endParaRPr lang="en-US" dirty="0"/>
          </a:p>
        </p:txBody>
      </p:sp>
      <p:sp>
        <p:nvSpPr>
          <p:cNvPr id="53" name="Pentagon 28"/>
          <p:cNvSpPr/>
          <p:nvPr/>
        </p:nvSpPr>
        <p:spPr bwMode="gray">
          <a:xfrm>
            <a:off x="-1" y="4683688"/>
            <a:ext cx="602409" cy="459812"/>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nchorCtr="0"/>
          <a:lstStyle/>
          <a:p>
            <a:endParaRPr lang="en-US" sz="1200" dirty="0">
              <a:solidFill>
                <a:srgbClr val="FFFFFF"/>
              </a:solidFill>
            </a:endParaRPr>
          </a:p>
        </p:txBody>
      </p:sp>
      <p:grpSp>
        <p:nvGrpSpPr>
          <p:cNvPr id="21" name="Group 20">
            <a:extLst>
              <a:ext uri="{FF2B5EF4-FFF2-40B4-BE49-F238E27FC236}">
                <a16:creationId xmlns:a16="http://schemas.microsoft.com/office/drawing/2014/main" id="{197174A0-3024-475A-843A-C236B8945484}"/>
              </a:ext>
            </a:extLst>
          </p:cNvPr>
          <p:cNvGrpSpPr/>
          <p:nvPr userDrawn="1"/>
        </p:nvGrpSpPr>
        <p:grpSpPr>
          <a:xfrm>
            <a:off x="-1671638" y="254082"/>
            <a:ext cx="1531557" cy="630549"/>
            <a:chOff x="-1671638" y="254082"/>
            <a:chExt cx="1531557" cy="630549"/>
          </a:xfrm>
        </p:grpSpPr>
        <p:cxnSp>
          <p:nvCxnSpPr>
            <p:cNvPr id="22" name="Straight Connector 21">
              <a:extLst>
                <a:ext uri="{FF2B5EF4-FFF2-40B4-BE49-F238E27FC236}">
                  <a16:creationId xmlns:a16="http://schemas.microsoft.com/office/drawing/2014/main" id="{807AEDFE-6D6E-4DCD-95AE-9EB869F56D37}"/>
                </a:ext>
              </a:extLst>
            </p:cNvPr>
            <p:cNvCxnSpPr/>
            <p:nvPr/>
          </p:nvCxnSpPr>
          <p:spPr bwMode="gray">
            <a:xfrm>
              <a:off x="-1671638" y="884631"/>
              <a:ext cx="1531557"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2ADE8EF-460B-4494-9B96-25366E12FE76}"/>
                </a:ext>
              </a:extLst>
            </p:cNvPr>
            <p:cNvCxnSpPr/>
            <p:nvPr/>
          </p:nvCxnSpPr>
          <p:spPr bwMode="gray">
            <a:xfrm>
              <a:off x="-1671638" y="254084"/>
              <a:ext cx="1531557"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BFD9244C-2A41-4A05-BD74-DBD5EEDFD0F3}"/>
                </a:ext>
              </a:extLst>
            </p:cNvPr>
            <p:cNvSpPr/>
            <p:nvPr userDrawn="1"/>
          </p:nvSpPr>
          <p:spPr bwMode="gray">
            <a:xfrm>
              <a:off x="-1671638" y="254082"/>
              <a:ext cx="1531557" cy="630547"/>
            </a:xfrm>
            <a:prstGeom prst="rect">
              <a:avLst/>
            </a:prstGeom>
            <a:solidFill>
              <a:schemeClr val="bg2">
                <a:lumMod val="60000"/>
                <a:lumOff val="4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08000" bIns="54000" rtlCol="0" anchor="b" anchorCtr="0">
              <a:noAutofit/>
            </a:bodyPr>
            <a:lstStyle/>
            <a:p>
              <a:pPr algn="l"/>
              <a:r>
                <a:rPr lang="en-US" sz="1000" b="0" dirty="0">
                  <a:solidFill>
                    <a:schemeClr val="tx1"/>
                  </a:solidFill>
                </a:rPr>
                <a:t>Title area</a:t>
              </a:r>
            </a:p>
            <a:p>
              <a:pPr algn="l"/>
              <a:r>
                <a:rPr lang="en-US" sz="1000" b="0" dirty="0">
                  <a:solidFill>
                    <a:schemeClr val="tx1"/>
                  </a:solidFill>
                </a:rPr>
                <a:t>max over 2 lines</a:t>
              </a:r>
            </a:p>
          </p:txBody>
        </p:sp>
      </p:grpSp>
      <p:sp>
        <p:nvSpPr>
          <p:cNvPr id="29" name="Rectangle 28">
            <a:extLst>
              <a:ext uri="{FF2B5EF4-FFF2-40B4-BE49-F238E27FC236}">
                <a16:creationId xmlns:a16="http://schemas.microsoft.com/office/drawing/2014/main" id="{4C9011BA-2E5B-46D8-B55C-C1EB58D76A37}"/>
              </a:ext>
            </a:extLst>
          </p:cNvPr>
          <p:cNvSpPr/>
          <p:nvPr userDrawn="1"/>
        </p:nvSpPr>
        <p:spPr bwMode="gray">
          <a:xfrm>
            <a:off x="-1671638" y="4242033"/>
            <a:ext cx="1531557" cy="772107"/>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36000" bIns="108000" rtlCol="0" anchor="t" anchorCtr="0">
            <a:spAutoFit/>
          </a:bodyPr>
          <a:lstStyle/>
          <a:p>
            <a:pPr algn="l"/>
            <a:r>
              <a:rPr lang="en-US" sz="900" b="1" dirty="0">
                <a:solidFill>
                  <a:schemeClr val="tx1"/>
                </a:solidFill>
              </a:rPr>
              <a:t>Insert Topic Icons</a:t>
            </a:r>
          </a:p>
          <a:p>
            <a:pPr algn="l"/>
            <a:r>
              <a:rPr lang="en-US" sz="900" b="0" dirty="0">
                <a:solidFill>
                  <a:schemeClr val="tx1"/>
                </a:solidFill>
              </a:rPr>
              <a:t>Click on the picture icon and </a:t>
            </a:r>
            <a:r>
              <a:rPr lang="en-US" sz="900" b="0" i="0" baseline="0" dirty="0">
                <a:solidFill>
                  <a:schemeClr val="tx1"/>
                </a:solidFill>
              </a:rPr>
              <a:t>browse to the location of </a:t>
            </a:r>
            <a:r>
              <a:rPr lang="en-US" sz="900" b="0" baseline="0" dirty="0">
                <a:solidFill>
                  <a:schemeClr val="tx1"/>
                </a:solidFill>
              </a:rPr>
              <a:t>the Topic Icons</a:t>
            </a:r>
            <a:endParaRPr lang="en-US" sz="900" b="0" dirty="0">
              <a:solidFill>
                <a:schemeClr val="tx1"/>
              </a:solidFill>
            </a:endParaRPr>
          </a:p>
        </p:txBody>
      </p:sp>
      <p:sp>
        <p:nvSpPr>
          <p:cNvPr id="32" name="Rectangle 31">
            <a:extLst>
              <a:ext uri="{FF2B5EF4-FFF2-40B4-BE49-F238E27FC236}">
                <a16:creationId xmlns:a16="http://schemas.microsoft.com/office/drawing/2014/main" id="{A9959907-D325-4515-8460-37109EB0788B}"/>
              </a:ext>
            </a:extLst>
          </p:cNvPr>
          <p:cNvSpPr/>
          <p:nvPr userDrawn="1"/>
        </p:nvSpPr>
        <p:spPr bwMode="gray">
          <a:xfrm>
            <a:off x="-1671638" y="1405512"/>
            <a:ext cx="1531557" cy="1802493"/>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0" bIns="108000" rtlCol="0" anchor="b" anchorCtr="0">
            <a:noAutofit/>
          </a:bodyPr>
          <a:lstStyle/>
          <a:p>
            <a:pPr algn="l"/>
            <a:r>
              <a:rPr lang="en-US" sz="900" b="1" dirty="0">
                <a:solidFill>
                  <a:schemeClr val="tx1"/>
                </a:solidFill>
              </a:rPr>
              <a:t>AkzoNobel Bullets</a:t>
            </a:r>
          </a:p>
          <a:p>
            <a:pPr algn="l"/>
            <a:r>
              <a:rPr lang="en-US" sz="900" b="0" dirty="0">
                <a:solidFill>
                  <a:schemeClr val="tx1"/>
                </a:solidFill>
              </a:rPr>
              <a:t>Only use the </a:t>
            </a:r>
            <a:r>
              <a:rPr lang="en-US" sz="900" b="0" u="sng" dirty="0">
                <a:solidFill>
                  <a:schemeClr val="tx1"/>
                </a:solidFill>
              </a:rPr>
              <a:t>List Level buttons</a:t>
            </a:r>
            <a:r>
              <a:rPr lang="en-US" sz="900" b="0" dirty="0">
                <a:solidFill>
                  <a:schemeClr val="tx1"/>
                </a:solidFill>
              </a:rPr>
              <a:t> to apply the</a:t>
            </a:r>
            <a:r>
              <a:rPr lang="en-US" sz="900" b="0" baseline="0" dirty="0">
                <a:solidFill>
                  <a:schemeClr val="tx1"/>
                </a:solidFill>
              </a:rPr>
              <a:t> </a:t>
            </a:r>
            <a:r>
              <a:rPr lang="en-US" sz="900" b="0" i="0" u="none" baseline="0" dirty="0">
                <a:solidFill>
                  <a:schemeClr val="tx1"/>
                </a:solidFill>
              </a:rPr>
              <a:t>AkzoNobel Branded Bullets</a:t>
            </a:r>
            <a:endParaRPr lang="en-US" sz="900" b="0" i="0" u="none" dirty="0">
              <a:solidFill>
                <a:schemeClr val="tx1"/>
              </a:solidFill>
            </a:endParaRPr>
          </a:p>
        </p:txBody>
      </p:sp>
      <p:grpSp>
        <p:nvGrpSpPr>
          <p:cNvPr id="34" name="Group 33">
            <a:extLst>
              <a:ext uri="{FF2B5EF4-FFF2-40B4-BE49-F238E27FC236}">
                <a16:creationId xmlns:a16="http://schemas.microsoft.com/office/drawing/2014/main" id="{AE269951-6D51-4ED6-B96C-0B3772FB0F99}"/>
              </a:ext>
            </a:extLst>
          </p:cNvPr>
          <p:cNvGrpSpPr/>
          <p:nvPr userDrawn="1"/>
        </p:nvGrpSpPr>
        <p:grpSpPr>
          <a:xfrm>
            <a:off x="-1573454" y="1531453"/>
            <a:ext cx="1335187" cy="795026"/>
            <a:chOff x="-1573454" y="1531453"/>
            <a:chExt cx="1335187" cy="795026"/>
          </a:xfrm>
        </p:grpSpPr>
        <p:pic>
          <p:nvPicPr>
            <p:cNvPr id="35" name="Picture 34">
              <a:extLst>
                <a:ext uri="{FF2B5EF4-FFF2-40B4-BE49-F238E27FC236}">
                  <a16:creationId xmlns:a16="http://schemas.microsoft.com/office/drawing/2014/main" id="{DDC62B89-1326-4317-9C5B-89680681F6F6}"/>
                </a:ext>
              </a:extLst>
            </p:cNvPr>
            <p:cNvPicPr>
              <a:picLocks noChangeAspect="1"/>
            </p:cNvPicPr>
            <p:nvPr/>
          </p:nvPicPr>
          <p:blipFill>
            <a:blip r:embed="rId33"/>
            <a:srcRect l="18732" t="14956" r="50206" b="52163"/>
            <a:stretch>
              <a:fillRect/>
            </a:stretch>
          </p:blipFill>
          <p:spPr bwMode="gray">
            <a:xfrm>
              <a:off x="-1573454" y="1531453"/>
              <a:ext cx="1335187" cy="795026"/>
            </a:xfrm>
            <a:custGeom>
              <a:avLst/>
              <a:gdLst>
                <a:gd name="connsiteX0" fmla="*/ 0 w 2840306"/>
                <a:gd name="connsiteY0" fmla="*/ 0 h 1691236"/>
                <a:gd name="connsiteX1" fmla="*/ 2840306 w 2840306"/>
                <a:gd name="connsiteY1" fmla="*/ 0 h 1691236"/>
                <a:gd name="connsiteX2" fmla="*/ 2840306 w 2840306"/>
                <a:gd name="connsiteY2" fmla="*/ 1691236 h 1691236"/>
                <a:gd name="connsiteX3" fmla="*/ 0 w 2840306"/>
                <a:gd name="connsiteY3" fmla="*/ 1691236 h 1691236"/>
              </a:gdLst>
              <a:ahLst/>
              <a:cxnLst>
                <a:cxn ang="0">
                  <a:pos x="connsiteX0" y="connsiteY0"/>
                </a:cxn>
                <a:cxn ang="0">
                  <a:pos x="connsiteX1" y="connsiteY1"/>
                </a:cxn>
                <a:cxn ang="0">
                  <a:pos x="connsiteX2" y="connsiteY2"/>
                </a:cxn>
                <a:cxn ang="0">
                  <a:pos x="connsiteX3" y="connsiteY3"/>
                </a:cxn>
              </a:cxnLst>
              <a:rect l="l" t="t" r="r" b="b"/>
              <a:pathLst>
                <a:path w="2840306" h="1691236">
                  <a:moveTo>
                    <a:pt x="0" y="0"/>
                  </a:moveTo>
                  <a:lnTo>
                    <a:pt x="2840306" y="0"/>
                  </a:lnTo>
                  <a:lnTo>
                    <a:pt x="2840306" y="1691236"/>
                  </a:lnTo>
                  <a:lnTo>
                    <a:pt x="0" y="1691236"/>
                  </a:lnTo>
                  <a:close/>
                </a:path>
              </a:pathLst>
            </a:custGeom>
          </p:spPr>
        </p:pic>
        <p:sp>
          <p:nvSpPr>
            <p:cNvPr id="36" name="Multiply 30">
              <a:extLst>
                <a:ext uri="{FF2B5EF4-FFF2-40B4-BE49-F238E27FC236}">
                  <a16:creationId xmlns:a16="http://schemas.microsoft.com/office/drawing/2014/main" id="{1E2C07B4-69F9-4521-AAF6-12CD6CA1844F}"/>
                </a:ext>
              </a:extLst>
            </p:cNvPr>
            <p:cNvSpPr/>
            <p:nvPr/>
          </p:nvSpPr>
          <p:spPr bwMode="gray">
            <a:xfrm>
              <a:off x="-1571627" y="1551174"/>
              <a:ext cx="245272" cy="245272"/>
            </a:xfrm>
            <a:prstGeom prst="mathMultiply">
              <a:avLst>
                <a:gd name="adj1" fmla="val 831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dirty="0" err="1"/>
            </a:p>
          </p:txBody>
        </p:sp>
      </p:grpSp>
      <p:pic>
        <p:nvPicPr>
          <p:cNvPr id="30" name="Picture 29">
            <a:extLst>
              <a:ext uri="{FF2B5EF4-FFF2-40B4-BE49-F238E27FC236}">
                <a16:creationId xmlns:a16="http://schemas.microsoft.com/office/drawing/2014/main" id="{8A3058E3-E7BE-4686-B0CC-3FEDA91961B8}"/>
              </a:ext>
            </a:extLst>
          </p:cNvPr>
          <p:cNvPicPr>
            <a:picLocks noChangeAspect="1"/>
          </p:cNvPicPr>
          <p:nvPr userDrawn="1"/>
        </p:nvPicPr>
        <p:blipFill>
          <a:blip r:embed="rId34"/>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3683888262"/>
      </p:ext>
    </p:extLst>
  </p:cSld>
  <p:clrMap bg1="lt1" tx1="dk1" bg2="lt2" tx2="dk2" accent1="accent1" accent2="accent2" accent3="accent3" accent4="accent4" accent5="accent5" accent6="accent6" hlink="hlink" folHlink="folHlink"/>
  <p:sldLayoutIdLst>
    <p:sldLayoutId id="2147483812" r:id="rId1"/>
    <p:sldLayoutId id="2147483818" r:id="rId2"/>
    <p:sldLayoutId id="2147483776" r:id="rId3"/>
    <p:sldLayoutId id="2147483777" r:id="rId4"/>
    <p:sldLayoutId id="2147483778" r:id="rId5"/>
    <p:sldLayoutId id="2147483811" r:id="rId6"/>
    <p:sldLayoutId id="2147483780" r:id="rId7"/>
    <p:sldLayoutId id="2147483781" r:id="rId8"/>
    <p:sldLayoutId id="2147483782" r:id="rId9"/>
    <p:sldLayoutId id="2147483783" r:id="rId10"/>
    <p:sldLayoutId id="2147483784" r:id="rId11"/>
    <p:sldLayoutId id="2147483786" r:id="rId12"/>
    <p:sldLayoutId id="2147483816" r:id="rId13"/>
    <p:sldLayoutId id="2147483817" r:id="rId14"/>
    <p:sldLayoutId id="2147483791" r:id="rId15"/>
    <p:sldLayoutId id="2147483792" r:id="rId16"/>
    <p:sldLayoutId id="2147483794" r:id="rId17"/>
    <p:sldLayoutId id="2147483795" r:id="rId18"/>
    <p:sldLayoutId id="2147483814" r:id="rId19"/>
    <p:sldLayoutId id="2147483815" r:id="rId20"/>
    <p:sldLayoutId id="2147483819" r:id="rId21"/>
    <p:sldLayoutId id="2147483804" r:id="rId22"/>
    <p:sldLayoutId id="2147483820" r:id="rId23"/>
    <p:sldLayoutId id="2147483821" r:id="rId24"/>
    <p:sldLayoutId id="2147483807" r:id="rId25"/>
    <p:sldLayoutId id="2147483808" r:id="rId26"/>
    <p:sldLayoutId id="2147483810" r:id="rId27"/>
    <p:sldLayoutId id="2147483822" r:id="rId28"/>
  </p:sldLayoutIdLst>
  <p:hf hdr="0" dt="0"/>
  <p:txStyles>
    <p:title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p:titleStyle>
    <p:bodyStyle>
      <a:lvl1pPr marL="0" indent="0" algn="l" defTabSz="914400" rtl="0" eaLnBrk="1" latinLnBrk="0" hangingPunct="1">
        <a:lnSpc>
          <a:spcPct val="80000"/>
        </a:lnSpc>
        <a:spcBef>
          <a:spcPts val="600"/>
        </a:spcBef>
        <a:spcAft>
          <a:spcPts val="200"/>
        </a:spcAft>
        <a:buClr>
          <a:schemeClr val="accent1"/>
        </a:buClr>
        <a:buFont typeface="Arial" pitchFamily="34" charset="0"/>
        <a:buNone/>
        <a:defRPr sz="1400" b="0" kern="1200">
          <a:solidFill>
            <a:schemeClr val="tx1"/>
          </a:solidFill>
          <a:latin typeface="+mn-lt"/>
          <a:ea typeface="+mn-ea"/>
          <a:cs typeface="+mn-cs"/>
        </a:defRPr>
      </a:lvl1pPr>
      <a:lvl2pPr marL="180000" indent="-180000" algn="l" defTabSz="914400" rtl="0" eaLnBrk="1" latinLnBrk="0" hangingPunct="1">
        <a:lnSpc>
          <a:spcPct val="80000"/>
        </a:lnSpc>
        <a:spcBef>
          <a:spcPts val="600"/>
        </a:spcBef>
        <a:spcAft>
          <a:spcPts val="200"/>
        </a:spcAft>
        <a:buClr>
          <a:schemeClr val="accent1"/>
        </a:buClr>
        <a:buFontTx/>
        <a:buBlip>
          <a:blip r:embed="rId35"/>
        </a:buBlip>
        <a:defRPr sz="1400" kern="1200">
          <a:solidFill>
            <a:schemeClr val="tx1"/>
          </a:solidFill>
          <a:latin typeface="+mn-lt"/>
          <a:ea typeface="+mn-ea"/>
          <a:cs typeface="+mn-cs"/>
        </a:defRPr>
      </a:lvl2pPr>
      <a:lvl3pPr marL="360000" indent="-180000" algn="l" defTabSz="914400" rtl="0" eaLnBrk="1" latinLnBrk="0" hangingPunct="1">
        <a:lnSpc>
          <a:spcPct val="80000"/>
        </a:lnSpc>
        <a:spcBef>
          <a:spcPts val="200"/>
        </a:spcBef>
        <a:spcAft>
          <a:spcPts val="200"/>
        </a:spcAft>
        <a:buClr>
          <a:schemeClr val="accent1"/>
        </a:buClr>
        <a:buFont typeface="Arial"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80000"/>
        </a:lnSpc>
        <a:spcBef>
          <a:spcPts val="200"/>
        </a:spcBef>
        <a:spcAft>
          <a:spcPts val="200"/>
        </a:spcAft>
        <a:buClr>
          <a:schemeClr val="accent1"/>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80000"/>
        </a:lnSpc>
        <a:spcBef>
          <a:spcPts val="200"/>
        </a:spcBef>
        <a:spcAft>
          <a:spcPts val="200"/>
        </a:spcAft>
        <a:buClr>
          <a:schemeClr val="accent1"/>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544" userDrawn="1">
          <p15:clr>
            <a:srgbClr val="F26B43"/>
          </p15:clr>
        </p15:guide>
        <p15:guide id="2" pos="222" userDrawn="1">
          <p15:clr>
            <a:srgbClr val="F26B43"/>
          </p15:clr>
        </p15:guide>
        <p15:guide id="3" orient="horz" pos="102" userDrawn="1">
          <p15:clr>
            <a:srgbClr val="F26B43"/>
          </p15:clr>
        </p15:guide>
        <p15:guide id="4" orient="horz" pos="558" userDrawn="1">
          <p15:clr>
            <a:srgbClr val="F26B43"/>
          </p15:clr>
        </p15:guide>
        <p15:guide id="5" orient="horz" pos="606" userDrawn="1">
          <p15:clr>
            <a:srgbClr val="F26B43"/>
          </p15:clr>
        </p15:guide>
        <p15:guide id="6" orient="horz" pos="2838" userDrawn="1">
          <p15:clr>
            <a:srgbClr val="F26B43"/>
          </p15:clr>
        </p15:guide>
        <p15:guide id="7" orient="horz" pos="295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42.png"/><Relationship Id="rId1" Type="http://schemas.openxmlformats.org/officeDocument/2006/relationships/slideLayout" Target="../slideLayouts/slideLayout26.xml"/><Relationship Id="rId6" Type="http://schemas.openxmlformats.org/officeDocument/2006/relationships/image" Target="../media/image57.png"/><Relationship Id="rId5" Type="http://schemas.openxmlformats.org/officeDocument/2006/relationships/image" Target="../media/image56.png"/><Relationship Id="rId10" Type="http://schemas.openxmlformats.org/officeDocument/2006/relationships/image" Target="../media/image61.jpg"/><Relationship Id="rId4" Type="http://schemas.openxmlformats.org/officeDocument/2006/relationships/image" Target="../media/image55.png"/><Relationship Id="rId9" Type="http://schemas.openxmlformats.org/officeDocument/2006/relationships/image" Target="../media/image60.png"/></Relationships>
</file>

<file path=ppt/slides/_rels/slide11.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2.png"/><Relationship Id="rId7" Type="http://schemas.openxmlformats.org/officeDocument/2006/relationships/image" Target="../media/image65.png"/><Relationship Id="rId2" Type="http://schemas.openxmlformats.org/officeDocument/2006/relationships/image" Target="../media/image42.png"/><Relationship Id="rId1" Type="http://schemas.openxmlformats.org/officeDocument/2006/relationships/slideLayout" Target="../slideLayouts/slideLayout26.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53.png"/><Relationship Id="rId9" Type="http://schemas.openxmlformats.org/officeDocument/2006/relationships/image" Target="../media/image67.jp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image" Target="../media/image68.png"/><Relationship Id="rId1" Type="http://schemas.openxmlformats.org/officeDocument/2006/relationships/slideLayout" Target="../slideLayouts/slideLayout26.xml"/><Relationship Id="rId6" Type="http://schemas.openxmlformats.org/officeDocument/2006/relationships/image" Target="../media/image72.jpeg"/><Relationship Id="rId5" Type="http://schemas.openxmlformats.org/officeDocument/2006/relationships/image" Target="../media/image71.png"/><Relationship Id="rId4" Type="http://schemas.openxmlformats.org/officeDocument/2006/relationships/image" Target="../media/image70.png"/></Relationships>
</file>

<file path=ppt/slides/_rels/slide14.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2.jpeg"/><Relationship Id="rId7" Type="http://schemas.openxmlformats.org/officeDocument/2006/relationships/image" Target="../media/image77.png"/><Relationship Id="rId2" Type="http://schemas.openxmlformats.org/officeDocument/2006/relationships/image" Target="../media/image68.png"/><Relationship Id="rId1" Type="http://schemas.openxmlformats.org/officeDocument/2006/relationships/slideLayout" Target="../slideLayouts/slideLayout26.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1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xml"/><Relationship Id="rId1" Type="http://schemas.openxmlformats.org/officeDocument/2006/relationships/slideLayout" Target="../slideLayouts/slideLayout28.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1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26.xml"/><Relationship Id="rId4" Type="http://schemas.openxmlformats.org/officeDocument/2006/relationships/image" Target="../media/image85.png"/></Relationships>
</file>

<file path=ppt/slides/_rels/slide1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0.png"/><Relationship Id="rId1" Type="http://schemas.openxmlformats.org/officeDocument/2006/relationships/slideLayout" Target="../slideLayouts/slideLayout26.xml"/><Relationship Id="rId4" Type="http://schemas.openxmlformats.org/officeDocument/2006/relationships/image" Target="../media/image87.png"/></Relationships>
</file>

<file path=ppt/slides/_rels/slide1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6.png"/><Relationship Id="rId1" Type="http://schemas.openxmlformats.org/officeDocument/2006/relationships/slideLayout" Target="../slideLayouts/slideLayout26.xml"/><Relationship Id="rId4" Type="http://schemas.openxmlformats.org/officeDocument/2006/relationships/image" Target="../media/image89.png"/></Relationships>
</file>

<file path=ppt/slides/_rels/slide1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26.xml"/><Relationship Id="rId4" Type="http://schemas.openxmlformats.org/officeDocument/2006/relationships/image" Target="../media/image9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1.png"/><Relationship Id="rId1" Type="http://schemas.openxmlformats.org/officeDocument/2006/relationships/slideLayout" Target="../slideLayouts/slideLayout26.xml"/><Relationship Id="rId4" Type="http://schemas.openxmlformats.org/officeDocument/2006/relationships/image" Target="../media/image94.png"/></Relationships>
</file>

<file path=ppt/slides/_rels/slide21.xml.rels><?xml version="1.0" encoding="UTF-8" standalone="yes"?>
<Relationships xmlns="http://schemas.openxmlformats.org/package/2006/relationships"><Relationship Id="rId8" Type="http://schemas.openxmlformats.org/officeDocument/2006/relationships/image" Target="../media/image98.png"/><Relationship Id="rId3" Type="http://schemas.microsoft.com/office/2007/relationships/hdphoto" Target="../media/hdphoto2.wdp"/><Relationship Id="rId7" Type="http://schemas.microsoft.com/office/2007/relationships/hdphoto" Target="../media/hdphoto4.wdp"/><Relationship Id="rId2" Type="http://schemas.openxmlformats.org/officeDocument/2006/relationships/image" Target="../media/image95.png"/><Relationship Id="rId1" Type="http://schemas.openxmlformats.org/officeDocument/2006/relationships/slideLayout" Target="../slideLayouts/slideLayout26.xml"/><Relationship Id="rId6" Type="http://schemas.openxmlformats.org/officeDocument/2006/relationships/image" Target="../media/image97.png"/><Relationship Id="rId5" Type="http://schemas.microsoft.com/office/2007/relationships/hdphoto" Target="../media/hdphoto3.wdp"/><Relationship Id="rId4" Type="http://schemas.openxmlformats.org/officeDocument/2006/relationships/image" Target="../media/image96.png"/><Relationship Id="rId9" Type="http://schemas.openxmlformats.org/officeDocument/2006/relationships/image" Target="../media/image99.png"/></Relationships>
</file>

<file path=ppt/slides/_rels/slide2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26.xml"/><Relationship Id="rId4" Type="http://schemas.openxmlformats.org/officeDocument/2006/relationships/image" Target="../media/image102.png"/></Relationships>
</file>

<file path=ppt/slides/_rels/slide2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xml"/><Relationship Id="rId1" Type="http://schemas.openxmlformats.org/officeDocument/2006/relationships/slideLayout" Target="../slideLayouts/slideLayout28.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2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xml"/><Relationship Id="rId1" Type="http://schemas.openxmlformats.org/officeDocument/2006/relationships/slideLayout" Target="../slideLayouts/slideLayout28.xml"/><Relationship Id="rId5" Type="http://schemas.openxmlformats.org/officeDocument/2006/relationships/image" Target="../media/image108.png"/><Relationship Id="rId4" Type="http://schemas.openxmlformats.org/officeDocument/2006/relationships/image" Target="../media/image107.png"/></Relationships>
</file>

<file path=ppt/slides/_rels/slide2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xml"/><Relationship Id="rId1" Type="http://schemas.openxmlformats.org/officeDocument/2006/relationships/slideLayout" Target="../slideLayouts/slideLayout28.xml"/><Relationship Id="rId5" Type="http://schemas.openxmlformats.org/officeDocument/2006/relationships/image" Target="../media/image110.png"/><Relationship Id="rId4" Type="http://schemas.openxmlformats.org/officeDocument/2006/relationships/image" Target="../media/image109.png"/></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Layout" Target="../slideLayouts/slideLayout26.xml"/><Relationship Id="rId6" Type="http://schemas.microsoft.com/office/2007/relationships/hdphoto" Target="../media/hdphoto1.wdp"/><Relationship Id="rId5" Type="http://schemas.openxmlformats.org/officeDocument/2006/relationships/image" Target="../media/image21.png"/><Relationship Id="rId10" Type="http://schemas.openxmlformats.org/officeDocument/2006/relationships/image" Target="../media/image25.png"/><Relationship Id="rId4" Type="http://schemas.openxmlformats.org/officeDocument/2006/relationships/image" Target="../media/image20.png"/><Relationship Id="rId9" Type="http://schemas.openxmlformats.org/officeDocument/2006/relationships/image" Target="../media/image24.png"/></Relationships>
</file>

<file path=ppt/slides/_rels/slide4.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26.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jpg"/></Relationships>
</file>

<file path=ppt/slides/_rels/slide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29.png"/><Relationship Id="rId7"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Layout" Target="../slideLayouts/slideLayout26.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26.xml"/><Relationship Id="rId5" Type="http://schemas.openxmlformats.org/officeDocument/2006/relationships/image" Target="../media/image40.png"/><Relationship Id="rId4" Type="http://schemas.openxmlformats.org/officeDocument/2006/relationships/image" Target="../media/image3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6.jpg"/><Relationship Id="rId2" Type="http://schemas.openxmlformats.org/officeDocument/2006/relationships/image" Target="../media/image41.png"/><Relationship Id="rId1" Type="http://schemas.openxmlformats.org/officeDocument/2006/relationships/slideLayout" Target="../slideLayouts/slideLayout26.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9.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image" Target="../media/image42.png"/><Relationship Id="rId1" Type="http://schemas.openxmlformats.org/officeDocument/2006/relationships/slideLayout" Target="../slideLayouts/slideLayout26.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jpeg"/><Relationship Id="rId9" Type="http://schemas.openxmlformats.org/officeDocument/2006/relationships/image" Target="../media/image5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0815F0-331A-43AF-976C-8D10A006A300}"/>
              </a:ext>
            </a:extLst>
          </p:cNvPr>
          <p:cNvSpPr>
            <a:spLocks noGrp="1"/>
          </p:cNvSpPr>
          <p:nvPr>
            <p:ph type="ctrTitle"/>
          </p:nvPr>
        </p:nvSpPr>
        <p:spPr>
          <a:xfrm>
            <a:off x="359999" y="3698277"/>
            <a:ext cx="7073503" cy="517065"/>
          </a:xfrm>
        </p:spPr>
        <p:txBody>
          <a:bodyPr/>
          <a:lstStyle/>
          <a:p>
            <a:r>
              <a:rPr lang="en-US" dirty="0"/>
              <a:t>India 1-2-3</a:t>
            </a:r>
          </a:p>
        </p:txBody>
      </p:sp>
      <p:sp>
        <p:nvSpPr>
          <p:cNvPr id="3" name="Subtitle 2">
            <a:extLst>
              <a:ext uri="{FF2B5EF4-FFF2-40B4-BE49-F238E27FC236}">
                <a16:creationId xmlns:a16="http://schemas.microsoft.com/office/drawing/2014/main" id="{79FE6AE0-2B10-4754-9999-5788D55D1F0A}"/>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9544889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a:t>
            </a:r>
            <a:r>
              <a:rPr lang="en-SG" dirty="0" err="1">
                <a:latin typeface="Colour Sans" panose="02000503030000020004" pitchFamily="2" charset="0"/>
              </a:rPr>
              <a:t>Weathershield</a:t>
            </a:r>
            <a:r>
              <a:rPr lang="en-SG" dirty="0">
                <a:latin typeface="Colour Sans" panose="02000503030000020004" pitchFamily="2" charset="0"/>
              </a:rPr>
              <a:t> Rainproof</a:t>
            </a: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nvGraphicFramePr>
        <p:xfrm>
          <a:off x="193626" y="601419"/>
          <a:ext cx="4440489" cy="3017520"/>
        </p:xfrm>
        <a:graphic>
          <a:graphicData uri="http://schemas.openxmlformats.org/drawingml/2006/table">
            <a:tbl>
              <a:tblPr firstRow="1" bandRow="1">
                <a:tableStyleId>{5940675A-B579-460E-94D1-54222C63F5DA}</a:tableStyleId>
              </a:tblPr>
              <a:tblGrid>
                <a:gridCol w="4440489">
                  <a:extLst>
                    <a:ext uri="{9D8B030D-6E8A-4147-A177-3AD203B41FA5}">
                      <a16:colId xmlns:a16="http://schemas.microsoft.com/office/drawing/2014/main" val="965239065"/>
                    </a:ext>
                  </a:extLst>
                </a:gridCol>
              </a:tblGrid>
              <a:tr h="223556">
                <a:tc>
                  <a:txBody>
                    <a:bodyPr/>
                    <a:lstStyle/>
                    <a:p>
                      <a:r>
                        <a:rPr lang="en-SG" sz="12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728077">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My home is a symbol of my success, a pristine-looking house fills me with pride. Harsh weather and air pollution make the exterior walls of my home look old and dirty sooner than expected. I wish for an exterior paint that would keep my house looking clean and fresh for long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23556">
                <a:tc>
                  <a:txBody>
                    <a:bodyPr/>
                    <a:lstStyle/>
                    <a:p>
                      <a:r>
                        <a:rPr lang="en-SG" sz="12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681845">
                <a:tc>
                  <a:txBody>
                    <a:bodyPr/>
                    <a:lstStyle/>
                    <a:p>
                      <a:pPr fontAlgn="base"/>
                      <a:r>
                        <a:rPr lang="en-US" sz="1050" b="0" dirty="0">
                          <a:latin typeface="Open Sans" panose="020B0606030504020204" pitchFamily="34" charset="0"/>
                          <a:ea typeface="Open Sans" panose="020B0606030504020204" pitchFamily="34" charset="0"/>
                          <a:cs typeface="Open Sans" panose="020B0606030504020204" pitchFamily="34" charset="0"/>
                        </a:rPr>
                        <a:t>Dulux </a:t>
                      </a:r>
                      <a:r>
                        <a:rPr lang="en-US" sz="1050" b="0" dirty="0" err="1">
                          <a:latin typeface="Open Sans" panose="020B0606030504020204" pitchFamily="34" charset="0"/>
                          <a:ea typeface="Open Sans" panose="020B0606030504020204" pitchFamily="34" charset="0"/>
                          <a:cs typeface="Open Sans" panose="020B0606030504020204" pitchFamily="34" charset="0"/>
                        </a:rPr>
                        <a:t>Weathershield</a:t>
                      </a:r>
                      <a:r>
                        <a:rPr lang="en-US" sz="1050" b="0" dirty="0">
                          <a:latin typeface="Open Sans" panose="020B0606030504020204" pitchFamily="34" charset="0"/>
                          <a:ea typeface="Open Sans" panose="020B0606030504020204" pitchFamily="34" charset="0"/>
                          <a:cs typeface="Open Sans" panose="020B0606030504020204" pitchFamily="34" charset="0"/>
                        </a:rPr>
                        <a:t> Protect Rainproof , with its Advance </a:t>
                      </a:r>
                      <a:r>
                        <a:rPr lang="en-US" sz="1050" b="0" dirty="0" err="1">
                          <a:latin typeface="Open Sans" panose="020B0606030504020204" pitchFamily="34" charset="0"/>
                          <a:ea typeface="Open Sans" panose="020B0606030504020204" pitchFamily="34" charset="0"/>
                          <a:cs typeface="Open Sans" panose="020B0606030504020204" pitchFamily="34" charset="0"/>
                        </a:rPr>
                        <a:t>Rainshield</a:t>
                      </a:r>
                      <a:r>
                        <a:rPr lang="en-US" sz="1050" b="0" dirty="0">
                          <a:latin typeface="Open Sans" panose="020B0606030504020204" pitchFamily="34" charset="0"/>
                          <a:ea typeface="Open Sans" panose="020B0606030504020204" pitchFamily="34" charset="0"/>
                          <a:cs typeface="Open Sans" panose="020B0606030504020204" pitchFamily="34" charset="0"/>
                        </a:rPr>
                        <a:t> Technology, provides protection against Algae and Fungal , provides Water Resistance and Dirt Resistance. Its silicon Technology provides higher durability to the film which protects the house for </a:t>
                      </a:r>
                      <a:r>
                        <a:rPr lang="en-US" sz="1050" b="0" dirty="0" err="1">
                          <a:latin typeface="Open Sans" panose="020B0606030504020204" pitchFamily="34" charset="0"/>
                          <a:ea typeface="Open Sans" panose="020B0606030504020204" pitchFamily="34" charset="0"/>
                          <a:cs typeface="Open Sans" panose="020B0606030504020204" pitchFamily="34" charset="0"/>
                        </a:rPr>
                        <a:t>upto</a:t>
                      </a:r>
                      <a:r>
                        <a:rPr lang="en-US" sz="1050" b="0" dirty="0">
                          <a:latin typeface="Open Sans" panose="020B0606030504020204" pitchFamily="34" charset="0"/>
                          <a:ea typeface="Open Sans" panose="020B0606030504020204" pitchFamily="34" charset="0"/>
                          <a:cs typeface="Open Sans" panose="020B0606030504020204" pitchFamily="34" charset="0"/>
                        </a:rPr>
                        <a:t> 7 Years . The product comes with Soft shee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23556">
                <a:tc>
                  <a:txBody>
                    <a:bodyPr/>
                    <a:lstStyle/>
                    <a:p>
                      <a:r>
                        <a:rPr lang="en-SG" sz="12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312978">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Cleaner, brighter and fresher home with Advance </a:t>
                      </a:r>
                      <a:r>
                        <a:rPr lang="en-US" sz="1050" b="0" dirty="0" err="1">
                          <a:latin typeface="Open Sans" panose="020B0606030504020204" pitchFamily="34" charset="0"/>
                          <a:ea typeface="Open Sans" panose="020B0606030504020204" pitchFamily="34" charset="0"/>
                          <a:cs typeface="Open Sans" panose="020B0606030504020204" pitchFamily="34" charset="0"/>
                        </a:rPr>
                        <a:t>Rainshield</a:t>
                      </a:r>
                      <a:r>
                        <a:rPr lang="en-US" sz="1050" b="0" dirty="0">
                          <a:latin typeface="Open Sans" panose="020B0606030504020204" pitchFamily="34" charset="0"/>
                          <a:ea typeface="Open Sans" panose="020B0606030504020204" pitchFamily="34" charset="0"/>
                          <a:cs typeface="Open Sans" panose="020B0606030504020204" pitchFamily="34" charset="0"/>
                        </a:rPr>
                        <a:t> Technology against high rainfall comes with 7 years warrant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35951" y="3719626"/>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277293" y="1902452"/>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4L, 10L,20L</a:t>
            </a:r>
          </a:p>
        </p:txBody>
      </p:sp>
      <p:graphicFrame>
        <p:nvGraphicFramePr>
          <p:cNvPr id="3" name="Table 2">
            <a:extLst>
              <a:ext uri="{FF2B5EF4-FFF2-40B4-BE49-F238E27FC236}">
                <a16:creationId xmlns:a16="http://schemas.microsoft.com/office/drawing/2014/main" id="{F3C27666-7664-22D5-04F1-6881AF75D24D}"/>
              </a:ext>
            </a:extLst>
          </p:cNvPr>
          <p:cNvGraphicFramePr>
            <a:graphicFrameLocks noGrp="1"/>
          </p:cNvGraphicFramePr>
          <p:nvPr/>
        </p:nvGraphicFramePr>
        <p:xfrm>
          <a:off x="193626" y="3982941"/>
          <a:ext cx="3063924" cy="907717"/>
        </p:xfrm>
        <a:graphic>
          <a:graphicData uri="http://schemas.openxmlformats.org/drawingml/2006/table">
            <a:tbl>
              <a:tblPr firstRow="1" bandRow="1">
                <a:tableStyleId>{2D5ABB26-0587-4C30-8999-92F81FD0307C}</a:tableStyleId>
              </a:tblPr>
              <a:tblGrid>
                <a:gridCol w="1416182">
                  <a:extLst>
                    <a:ext uri="{9D8B030D-6E8A-4147-A177-3AD203B41FA5}">
                      <a16:colId xmlns:a16="http://schemas.microsoft.com/office/drawing/2014/main" val="2714193207"/>
                    </a:ext>
                  </a:extLst>
                </a:gridCol>
                <a:gridCol w="1647742">
                  <a:extLst>
                    <a:ext uri="{9D8B030D-6E8A-4147-A177-3AD203B41FA5}">
                      <a16:colId xmlns:a16="http://schemas.microsoft.com/office/drawing/2014/main" val="402161752"/>
                    </a:ext>
                  </a:extLst>
                </a:gridCol>
              </a:tblGrid>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Low Sheen Finis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12-13 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endPar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High opacity</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32705">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3258 Tinting</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sp>
        <p:nvSpPr>
          <p:cNvPr id="4" name="TextBox 3">
            <a:extLst>
              <a:ext uri="{FF2B5EF4-FFF2-40B4-BE49-F238E27FC236}">
                <a16:creationId xmlns:a16="http://schemas.microsoft.com/office/drawing/2014/main" id="{E09ECB9B-4496-F6BB-2EE5-30E0410D2810}"/>
              </a:ext>
            </a:extLst>
          </p:cNvPr>
          <p:cNvSpPr txBox="1"/>
          <p:nvPr/>
        </p:nvSpPr>
        <p:spPr>
          <a:xfrm>
            <a:off x="7152073" y="3982939"/>
            <a:ext cx="1898038" cy="900015"/>
          </a:xfrm>
          <a:prstGeom prst="rect">
            <a:avLst/>
          </a:prstGeom>
          <a:noFill/>
        </p:spPr>
        <p:txBody>
          <a:bodyPr wrap="square" lIns="0" tIns="0" rIns="0" bIns="0" rtlCol="0">
            <a:noAutofit/>
          </a:bodyPr>
          <a:lstStyle/>
          <a:p>
            <a:r>
              <a:rPr lang="en-SG" sz="1400" b="0" dirty="0">
                <a:latin typeface="Colour Sans" panose="02000503030000020004" pitchFamily="2" charset="0"/>
              </a:rPr>
              <a:t>Other benefits:</a:t>
            </a:r>
          </a:p>
          <a:p>
            <a:pPr marL="285750" indent="-285750">
              <a:buFont typeface="Wingdings" panose="05000000000000000000" pitchFamily="2" charset="2"/>
              <a:buChar char="q"/>
            </a:pPr>
            <a:r>
              <a:rPr lang="en-SG" sz="1100" dirty="0">
                <a:latin typeface="Colour Sans" panose="02000503030000020004" pitchFamily="2" charset="0"/>
              </a:rPr>
              <a:t>Low VOC / Low Odour</a:t>
            </a:r>
            <a:endParaRPr lang="en-SG" sz="1100" b="0" dirty="0">
              <a:latin typeface="Colour Sans" panose="02000503030000020004" pitchFamily="2" charset="0"/>
            </a:endParaRPr>
          </a:p>
          <a:p>
            <a:pPr marL="285750" indent="-285750">
              <a:buFont typeface="Wingdings" panose="05000000000000000000" pitchFamily="2" charset="2"/>
              <a:buChar char="q"/>
            </a:pPr>
            <a:r>
              <a:rPr lang="en-SG" sz="1100" dirty="0">
                <a:latin typeface="Colour Sans" panose="02000503030000020004" pitchFamily="2" charset="0"/>
              </a:rPr>
              <a:t>No Added Lead &amp; mercury</a:t>
            </a:r>
          </a:p>
          <a:p>
            <a:endParaRPr lang="en-SG" sz="1400" b="0" dirty="0">
              <a:latin typeface="Colour Sans" panose="02000503030000020004" pitchFamily="2" charset="0"/>
            </a:endParaRPr>
          </a:p>
        </p:txBody>
      </p:sp>
      <p:pic>
        <p:nvPicPr>
          <p:cNvPr id="13" name="Picture 12" descr="Logo&#10;&#10;Description automatically generated">
            <a:extLst>
              <a:ext uri="{FF2B5EF4-FFF2-40B4-BE49-F238E27FC236}">
                <a16:creationId xmlns:a16="http://schemas.microsoft.com/office/drawing/2014/main" id="{CF3B684C-F080-33FA-3A32-6DECCCB705B8}"/>
              </a:ext>
            </a:extLst>
          </p:cNvPr>
          <p:cNvPicPr>
            <a:picLocks noChangeAspect="1"/>
          </p:cNvPicPr>
          <p:nvPr/>
        </p:nvPicPr>
        <p:blipFill>
          <a:blip r:embed="rId2"/>
          <a:stretch>
            <a:fillRect/>
          </a:stretch>
        </p:blipFill>
        <p:spPr>
          <a:xfrm>
            <a:off x="7675253" y="2929021"/>
            <a:ext cx="1176314" cy="1010293"/>
          </a:xfrm>
          <a:prstGeom prst="rect">
            <a:avLst/>
          </a:prstGeom>
        </p:spPr>
      </p:pic>
      <p:pic>
        <p:nvPicPr>
          <p:cNvPr id="33" name="Picture 32" descr="Logo&#10;&#10;Description automatically generated">
            <a:extLst>
              <a:ext uri="{FF2B5EF4-FFF2-40B4-BE49-F238E27FC236}">
                <a16:creationId xmlns:a16="http://schemas.microsoft.com/office/drawing/2014/main" id="{81991FC4-3472-8F30-64FD-C3B12E396188}"/>
              </a:ext>
            </a:extLst>
          </p:cNvPr>
          <p:cNvPicPr>
            <a:picLocks noChangeAspect="1"/>
          </p:cNvPicPr>
          <p:nvPr/>
        </p:nvPicPr>
        <p:blipFill>
          <a:blip r:embed="rId3"/>
          <a:stretch>
            <a:fillRect/>
          </a:stretch>
        </p:blipFill>
        <p:spPr>
          <a:xfrm>
            <a:off x="6860941" y="3147627"/>
            <a:ext cx="1399996" cy="786390"/>
          </a:xfrm>
          <a:prstGeom prst="rect">
            <a:avLst/>
          </a:prstGeom>
        </p:spPr>
      </p:pic>
      <p:graphicFrame>
        <p:nvGraphicFramePr>
          <p:cNvPr id="36" name="Table 35">
            <a:extLst>
              <a:ext uri="{FF2B5EF4-FFF2-40B4-BE49-F238E27FC236}">
                <a16:creationId xmlns:a16="http://schemas.microsoft.com/office/drawing/2014/main" id="{8B327683-5F78-9B79-0208-5C45B4B41D2E}"/>
              </a:ext>
            </a:extLst>
          </p:cNvPr>
          <p:cNvGraphicFramePr>
            <a:graphicFrameLocks noGrp="1"/>
          </p:cNvGraphicFramePr>
          <p:nvPr/>
        </p:nvGraphicFramePr>
        <p:xfrm>
          <a:off x="3312809" y="3982939"/>
          <a:ext cx="3687298" cy="900016"/>
        </p:xfrm>
        <a:graphic>
          <a:graphicData uri="http://schemas.openxmlformats.org/drawingml/2006/table">
            <a:tbl>
              <a:tblPr firstRow="1" bandRow="1">
                <a:tableStyleId>{2D5ABB26-0587-4C30-8999-92F81FD0307C}</a:tableStyleId>
              </a:tblPr>
              <a:tblGrid>
                <a:gridCol w="1764016">
                  <a:extLst>
                    <a:ext uri="{9D8B030D-6E8A-4147-A177-3AD203B41FA5}">
                      <a16:colId xmlns:a16="http://schemas.microsoft.com/office/drawing/2014/main" val="3738590716"/>
                    </a:ext>
                  </a:extLst>
                </a:gridCol>
                <a:gridCol w="1923282">
                  <a:extLst>
                    <a:ext uri="{9D8B030D-6E8A-4147-A177-3AD203B41FA5}">
                      <a16:colId xmlns:a16="http://schemas.microsoft.com/office/drawing/2014/main" val="3750538898"/>
                    </a:ext>
                  </a:extLst>
                </a:gridCol>
              </a:tblGrid>
              <a:tr h="225004">
                <a:tc>
                  <a:txBody>
                    <a:bodyPr/>
                    <a:lstStyle/>
                    <a:p>
                      <a:pPr marL="85725" marR="0" lvl="0" indent="0"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Open Sans" panose="020B0606030504020204" pitchFamily="34" charset="0"/>
                          <a:cs typeface="Open Sans" panose="020B0606030504020204" pitchFamily="34" charset="0"/>
                        </a:rPr>
                        <a:t>Colour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High colour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225004">
                <a:tc>
                  <a:txBody>
                    <a:bodyPr/>
                    <a:lstStyle/>
                    <a:p>
                      <a:pPr marL="85725" marR="0" lvl="0" indent="0"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Open Sans" panose="020B0606030504020204" pitchFamily="34" charset="0"/>
                          <a:cs typeface="Open Sans" panose="020B0606030504020204" pitchFamily="34" charset="0"/>
                        </a:rPr>
                        <a:t>Algae &amp; Fungus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High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225004">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Alkali Resistanc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High resistanc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Durability / Warran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7 yea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pic>
        <p:nvPicPr>
          <p:cNvPr id="6" name="Picture 1">
            <a:extLst>
              <a:ext uri="{FF2B5EF4-FFF2-40B4-BE49-F238E27FC236}">
                <a16:creationId xmlns:a16="http://schemas.microsoft.com/office/drawing/2014/main" id="{A2D9A494-E0AF-1736-B3B9-0C8EE3F4A4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13482" y="655739"/>
            <a:ext cx="1032145" cy="1139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Placeholder 14" descr="A round silver and blue logo&#10;&#10;Description automatically generated">
            <a:extLst>
              <a:ext uri="{FF2B5EF4-FFF2-40B4-BE49-F238E27FC236}">
                <a16:creationId xmlns:a16="http://schemas.microsoft.com/office/drawing/2014/main" id="{026A1C81-08D8-4A07-66E9-F9D46C985FE2}"/>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gray">
          <a:xfrm>
            <a:off x="4861123" y="2736778"/>
            <a:ext cx="982848" cy="982848"/>
          </a:xfrm>
          <a:prstGeom prst="rect">
            <a:avLst/>
          </a:prstGeom>
          <a:noFill/>
        </p:spPr>
      </p:pic>
      <p:pic>
        <p:nvPicPr>
          <p:cNvPr id="9" name="Picture 8" descr="A close-up of a sign&#10;&#10;Description automatically generated">
            <a:extLst>
              <a:ext uri="{FF2B5EF4-FFF2-40B4-BE49-F238E27FC236}">
                <a16:creationId xmlns:a16="http://schemas.microsoft.com/office/drawing/2014/main" id="{C0CEE7FA-D4A5-C836-A2FA-51C3320616B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55811" y="2669602"/>
            <a:ext cx="901010" cy="982848"/>
          </a:xfrm>
          <a:prstGeom prst="rect">
            <a:avLst/>
          </a:prstGeom>
        </p:spPr>
      </p:pic>
      <p:pic>
        <p:nvPicPr>
          <p:cNvPr id="11" name="Picture 10" descr="A blue and white logo&#10;&#10;Description automatically generated">
            <a:extLst>
              <a:ext uri="{FF2B5EF4-FFF2-40B4-BE49-F238E27FC236}">
                <a16:creationId xmlns:a16="http://schemas.microsoft.com/office/drawing/2014/main" id="{B8C89637-1926-E0B6-DD60-74EC88C81DF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53134" y="2568533"/>
            <a:ext cx="592493" cy="592493"/>
          </a:xfrm>
          <a:prstGeom prst="rect">
            <a:avLst/>
          </a:prstGeom>
        </p:spPr>
      </p:pic>
      <p:pic>
        <p:nvPicPr>
          <p:cNvPr id="12" name="Picture 11" descr="A logo of a technology company&#10;&#10;Description automatically generated">
            <a:extLst>
              <a:ext uri="{FF2B5EF4-FFF2-40B4-BE49-F238E27FC236}">
                <a16:creationId xmlns:a16="http://schemas.microsoft.com/office/drawing/2014/main" id="{FA6217FC-C639-A970-3AAD-CAA2A023DDF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96832" y="2568533"/>
            <a:ext cx="592493" cy="592493"/>
          </a:xfrm>
          <a:prstGeom prst="rect">
            <a:avLst/>
          </a:prstGeom>
        </p:spPr>
      </p:pic>
      <p:pic>
        <p:nvPicPr>
          <p:cNvPr id="15" name="Picture 14" descr="A logo of a hand and stars&#10;&#10;Description automatically generated">
            <a:extLst>
              <a:ext uri="{FF2B5EF4-FFF2-40B4-BE49-F238E27FC236}">
                <a16:creationId xmlns:a16="http://schemas.microsoft.com/office/drawing/2014/main" id="{A3F92D07-4CEF-42B8-45C2-E025BE4E485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96843" y="2571750"/>
            <a:ext cx="553531" cy="553531"/>
          </a:xfrm>
          <a:prstGeom prst="rect">
            <a:avLst/>
          </a:prstGeom>
        </p:spPr>
      </p:pic>
      <p:pic>
        <p:nvPicPr>
          <p:cNvPr id="20" name="Picture 19" descr="A picture containing text, tree, sky, screenshot&#10;&#10;Description automatically generated">
            <a:extLst>
              <a:ext uri="{FF2B5EF4-FFF2-40B4-BE49-F238E27FC236}">
                <a16:creationId xmlns:a16="http://schemas.microsoft.com/office/drawing/2014/main" id="{54CE04C9-3B48-9CA4-B942-8603AB06C32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880796" y="413160"/>
            <a:ext cx="1627379" cy="2120105"/>
          </a:xfrm>
          <a:prstGeom prst="rect">
            <a:avLst/>
          </a:prstGeom>
        </p:spPr>
      </p:pic>
    </p:spTree>
    <p:extLst>
      <p:ext uri="{BB962C8B-B14F-4D97-AF65-F5344CB8AC3E}">
        <p14:creationId xmlns:p14="http://schemas.microsoft.com/office/powerpoint/2010/main" val="1167361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a:t>
            </a:r>
            <a:r>
              <a:rPr lang="en-SG" dirty="0" err="1">
                <a:latin typeface="Colour Sans" panose="02000503030000020004" pitchFamily="2" charset="0"/>
              </a:rPr>
              <a:t>Weathershield</a:t>
            </a:r>
            <a:endParaRPr lang="en-SG" dirty="0">
              <a:latin typeface="Colour Sans" panose="02000503030000020004" pitchFamily="2" charset="0"/>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nvGraphicFramePr>
        <p:xfrm>
          <a:off x="193626" y="601419"/>
          <a:ext cx="4440489" cy="2967845"/>
        </p:xfrm>
        <a:graphic>
          <a:graphicData uri="http://schemas.openxmlformats.org/drawingml/2006/table">
            <a:tbl>
              <a:tblPr firstRow="1" bandRow="1">
                <a:tableStyleId>{5940675A-B579-460E-94D1-54222C63F5DA}</a:tableStyleId>
              </a:tblPr>
              <a:tblGrid>
                <a:gridCol w="4440489">
                  <a:extLst>
                    <a:ext uri="{9D8B030D-6E8A-4147-A177-3AD203B41FA5}">
                      <a16:colId xmlns:a16="http://schemas.microsoft.com/office/drawing/2014/main" val="965239065"/>
                    </a:ext>
                  </a:extLst>
                </a:gridCol>
              </a:tblGrid>
              <a:tr h="223556">
                <a:tc>
                  <a:txBody>
                    <a:bodyPr/>
                    <a:lstStyle/>
                    <a:p>
                      <a:r>
                        <a:rPr lang="en-SG" sz="12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728077">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My home is a symbol of my success, a pristine-looking house fills me with pride. Harsh weather and air pollution make the exterior walls of my home look old and dirty sooner than expected. I wish for an exterior paint that would keep my house looking clean and fresh for long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23556">
                <a:tc>
                  <a:txBody>
                    <a:bodyPr/>
                    <a:lstStyle/>
                    <a:p>
                      <a:r>
                        <a:rPr lang="en-SG" sz="12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681845">
                <a:tc>
                  <a:txBody>
                    <a:bodyPr/>
                    <a:lstStyle/>
                    <a:p>
                      <a:pPr fontAlgn="base"/>
                      <a:r>
                        <a:rPr lang="en-US" sz="1050" b="0" dirty="0">
                          <a:latin typeface="Open Sans" panose="020B0606030504020204" pitchFamily="34" charset="0"/>
                          <a:ea typeface="Open Sans" panose="020B0606030504020204" pitchFamily="34" charset="0"/>
                          <a:cs typeface="Open Sans" panose="020B0606030504020204" pitchFamily="34" charset="0"/>
                        </a:rPr>
                        <a:t>Dulux </a:t>
                      </a:r>
                      <a:r>
                        <a:rPr lang="en-US" sz="1050" b="0" dirty="0" err="1">
                          <a:latin typeface="Open Sans" panose="020B0606030504020204" pitchFamily="34" charset="0"/>
                          <a:ea typeface="Open Sans" panose="020B0606030504020204" pitchFamily="34" charset="0"/>
                          <a:cs typeface="Open Sans" panose="020B0606030504020204" pitchFamily="34" charset="0"/>
                        </a:rPr>
                        <a:t>Weathershield</a:t>
                      </a:r>
                      <a:r>
                        <a:rPr lang="en-US" sz="1050" b="0" dirty="0">
                          <a:latin typeface="Open Sans" panose="020B0606030504020204" pitchFamily="34" charset="0"/>
                          <a:ea typeface="Open Sans" panose="020B0606030504020204" pitchFamily="34" charset="0"/>
                          <a:cs typeface="Open Sans" panose="020B0606030504020204" pitchFamily="34" charset="0"/>
                        </a:rPr>
                        <a:t>, with its </a:t>
                      </a:r>
                      <a:r>
                        <a:rPr lang="en-US" sz="1050" b="0" dirty="0" err="1">
                          <a:latin typeface="Open Sans" panose="020B0606030504020204" pitchFamily="34" charset="0"/>
                          <a:ea typeface="Open Sans" panose="020B0606030504020204" pitchFamily="34" charset="0"/>
                          <a:cs typeface="Open Sans" panose="020B0606030504020204" pitchFamily="34" charset="0"/>
                        </a:rPr>
                        <a:t>Dualshield</a:t>
                      </a:r>
                      <a:r>
                        <a:rPr lang="en-US" sz="1050" b="0" dirty="0">
                          <a:latin typeface="Open Sans" panose="020B0606030504020204" pitchFamily="34" charset="0"/>
                          <a:ea typeface="Open Sans" panose="020B0606030504020204" pitchFamily="34" charset="0"/>
                          <a:cs typeface="Open Sans" panose="020B0606030504020204" pitchFamily="34" charset="0"/>
                        </a:rPr>
                        <a:t>™ Technology, provides 2x* longer protection against </a:t>
                      </a:r>
                      <a:r>
                        <a:rPr lang="en-US" sz="1050" b="0" dirty="0" err="1">
                          <a:latin typeface="Open Sans" panose="020B0606030504020204" pitchFamily="34" charset="0"/>
                          <a:ea typeface="Open Sans" panose="020B0606030504020204" pitchFamily="34" charset="0"/>
                          <a:cs typeface="Open Sans" panose="020B0606030504020204" pitchFamily="34" charset="0"/>
                        </a:rPr>
                        <a:t>colour</a:t>
                      </a:r>
                      <a:r>
                        <a:rPr lang="en-US" sz="1050" b="0" dirty="0">
                          <a:latin typeface="Open Sans" panose="020B0606030504020204" pitchFamily="34" charset="0"/>
                          <a:ea typeface="Open Sans" panose="020B0606030504020204" pitchFamily="34" charset="0"/>
                          <a:cs typeface="Open Sans" panose="020B0606030504020204" pitchFamily="34" charset="0"/>
                        </a:rPr>
                        <a:t> </a:t>
                      </a:r>
                      <a:r>
                        <a:rPr lang="en-US" sz="1050" b="0" dirty="0" err="1">
                          <a:latin typeface="Open Sans" panose="020B0606030504020204" pitchFamily="34" charset="0"/>
                          <a:ea typeface="Open Sans" panose="020B0606030504020204" pitchFamily="34" charset="0"/>
                          <a:cs typeface="Open Sans" panose="020B0606030504020204" pitchFamily="34" charset="0"/>
                        </a:rPr>
                        <a:t>fadingi</a:t>
                      </a:r>
                      <a:r>
                        <a:rPr lang="en-US" sz="1050" b="0" dirty="0">
                          <a:latin typeface="Open Sans" panose="020B0606030504020204" pitchFamily="34" charset="0"/>
                          <a:ea typeface="Open Sans" panose="020B0606030504020204" pitchFamily="34" charset="0"/>
                          <a:cs typeface="Open Sans" panose="020B0606030504020204" pitchFamily="34" charset="0"/>
                        </a:rPr>
                        <a:t>, dirt and dust deposits and algae &amp; fungus.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23556">
                <a:tc>
                  <a:txBody>
                    <a:bodyPr/>
                    <a:lstStyle/>
                    <a:p>
                      <a:r>
                        <a:rPr lang="en-SG" sz="12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312978">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Cleaner, brighter and fresher home with 2X Ultimate Protection against all weather with Dulux </a:t>
                      </a:r>
                      <a:r>
                        <a:rPr lang="en-US" sz="1050" b="0" dirty="0" err="1">
                          <a:latin typeface="Open Sans" panose="020B0606030504020204" pitchFamily="34" charset="0"/>
                          <a:ea typeface="Open Sans" panose="020B0606030504020204" pitchFamily="34" charset="0"/>
                          <a:cs typeface="Open Sans" panose="020B0606030504020204" pitchFamily="34" charset="0"/>
                        </a:rPr>
                        <a:t>Weathershield</a:t>
                      </a:r>
                      <a:r>
                        <a:rPr lang="en-US" sz="1050" b="0" dirty="0">
                          <a:latin typeface="Open Sans" panose="020B0606030504020204" pitchFamily="34" charset="0"/>
                          <a:ea typeface="Open Sans" panose="020B0606030504020204" pitchFamily="34" charset="0"/>
                          <a:cs typeface="Open Sans" panose="020B0606030504020204" pitchFamily="34" charset="0"/>
                        </a:rPr>
                        <a:t>, comes with 6 years of protection assuranc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35951" y="3719626"/>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524750" y="1916074"/>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4L, 10L, 20L</a:t>
            </a:r>
          </a:p>
        </p:txBody>
      </p:sp>
      <p:graphicFrame>
        <p:nvGraphicFramePr>
          <p:cNvPr id="3" name="Table 2">
            <a:extLst>
              <a:ext uri="{FF2B5EF4-FFF2-40B4-BE49-F238E27FC236}">
                <a16:creationId xmlns:a16="http://schemas.microsoft.com/office/drawing/2014/main" id="{F3C27666-7664-22D5-04F1-6881AF75D24D}"/>
              </a:ext>
            </a:extLst>
          </p:cNvPr>
          <p:cNvGraphicFramePr>
            <a:graphicFrameLocks noGrp="1"/>
          </p:cNvGraphicFramePr>
          <p:nvPr/>
        </p:nvGraphicFramePr>
        <p:xfrm>
          <a:off x="193626" y="3982941"/>
          <a:ext cx="3063924" cy="907717"/>
        </p:xfrm>
        <a:graphic>
          <a:graphicData uri="http://schemas.openxmlformats.org/drawingml/2006/table">
            <a:tbl>
              <a:tblPr firstRow="1" bandRow="1">
                <a:tableStyleId>{2D5ABB26-0587-4C30-8999-92F81FD0307C}</a:tableStyleId>
              </a:tblPr>
              <a:tblGrid>
                <a:gridCol w="1416182">
                  <a:extLst>
                    <a:ext uri="{9D8B030D-6E8A-4147-A177-3AD203B41FA5}">
                      <a16:colId xmlns:a16="http://schemas.microsoft.com/office/drawing/2014/main" val="2714193207"/>
                    </a:ext>
                  </a:extLst>
                </a:gridCol>
                <a:gridCol w="1647742">
                  <a:extLst>
                    <a:ext uri="{9D8B030D-6E8A-4147-A177-3AD203B41FA5}">
                      <a16:colId xmlns:a16="http://schemas.microsoft.com/office/drawing/2014/main" val="402161752"/>
                    </a:ext>
                  </a:extLst>
                </a:gridCol>
              </a:tblGrid>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Low Sheen Finis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12-13 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endPar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High opacity</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32705">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5 Ready Mix </a:t>
                      </a:r>
                      <a:r>
                        <a:rPr kumimoji="0" lang="en-SG" sz="1100" b="0" i="0" u="none" strike="noStrike" kern="1200" cap="none" spc="0" normalizeH="0" baseline="0" noProof="0">
                          <a:ln>
                            <a:noFill/>
                          </a:ln>
                          <a:solidFill>
                            <a:srgbClr val="000000"/>
                          </a:solidFill>
                          <a:effectLst/>
                          <a:uLnTx/>
                          <a:uFillTx/>
                          <a:latin typeface="Colour Sans" panose="02000503030000020004" pitchFamily="2" charset="0"/>
                          <a:ea typeface="+mn-ea"/>
                          <a:cs typeface="+mn-cs"/>
                        </a:rPr>
                        <a:t>, 3258 Tinting</a:t>
                      </a:r>
                      <a:endPar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sp>
        <p:nvSpPr>
          <p:cNvPr id="4" name="TextBox 3">
            <a:extLst>
              <a:ext uri="{FF2B5EF4-FFF2-40B4-BE49-F238E27FC236}">
                <a16:creationId xmlns:a16="http://schemas.microsoft.com/office/drawing/2014/main" id="{E09ECB9B-4496-F6BB-2EE5-30E0410D2810}"/>
              </a:ext>
            </a:extLst>
          </p:cNvPr>
          <p:cNvSpPr txBox="1"/>
          <p:nvPr/>
        </p:nvSpPr>
        <p:spPr>
          <a:xfrm>
            <a:off x="7152073" y="3982939"/>
            <a:ext cx="1898038" cy="900015"/>
          </a:xfrm>
          <a:prstGeom prst="rect">
            <a:avLst/>
          </a:prstGeom>
          <a:noFill/>
        </p:spPr>
        <p:txBody>
          <a:bodyPr wrap="square" lIns="0" tIns="0" rIns="0" bIns="0" rtlCol="0">
            <a:noAutofit/>
          </a:bodyPr>
          <a:lstStyle/>
          <a:p>
            <a:r>
              <a:rPr lang="en-SG" sz="1400" b="0" dirty="0">
                <a:latin typeface="Colour Sans" panose="02000503030000020004" pitchFamily="2" charset="0"/>
              </a:rPr>
              <a:t>Other benefits:</a:t>
            </a:r>
          </a:p>
          <a:p>
            <a:pPr marL="285750" indent="-285750">
              <a:buFont typeface="Wingdings" panose="05000000000000000000" pitchFamily="2" charset="2"/>
              <a:buChar char="q"/>
            </a:pPr>
            <a:r>
              <a:rPr lang="en-SG" sz="1100" dirty="0">
                <a:latin typeface="Colour Sans" panose="02000503030000020004" pitchFamily="2" charset="0"/>
              </a:rPr>
              <a:t>Low VOC / Low Odour</a:t>
            </a:r>
            <a:endParaRPr lang="en-SG" sz="1100" b="0" dirty="0">
              <a:latin typeface="Colour Sans" panose="02000503030000020004" pitchFamily="2" charset="0"/>
            </a:endParaRPr>
          </a:p>
          <a:p>
            <a:pPr marL="285750" indent="-285750">
              <a:buFont typeface="Wingdings" panose="05000000000000000000" pitchFamily="2" charset="2"/>
              <a:buChar char="q"/>
            </a:pPr>
            <a:r>
              <a:rPr lang="en-SG" sz="1100" dirty="0">
                <a:latin typeface="Colour Sans" panose="02000503030000020004" pitchFamily="2" charset="0"/>
              </a:rPr>
              <a:t>No Added Lead &amp; mercury</a:t>
            </a:r>
          </a:p>
          <a:p>
            <a:endParaRPr lang="en-SG" sz="1400" b="0" dirty="0">
              <a:latin typeface="Colour Sans" panose="02000503030000020004" pitchFamily="2" charset="0"/>
            </a:endParaRPr>
          </a:p>
        </p:txBody>
      </p:sp>
      <p:pic>
        <p:nvPicPr>
          <p:cNvPr id="13" name="Picture 12" descr="Logo&#10;&#10;Description automatically generated">
            <a:extLst>
              <a:ext uri="{FF2B5EF4-FFF2-40B4-BE49-F238E27FC236}">
                <a16:creationId xmlns:a16="http://schemas.microsoft.com/office/drawing/2014/main" id="{CF3B684C-F080-33FA-3A32-6DECCCB705B8}"/>
              </a:ext>
            </a:extLst>
          </p:cNvPr>
          <p:cNvPicPr>
            <a:picLocks noChangeAspect="1"/>
          </p:cNvPicPr>
          <p:nvPr/>
        </p:nvPicPr>
        <p:blipFill>
          <a:blip r:embed="rId2"/>
          <a:stretch>
            <a:fillRect/>
          </a:stretch>
        </p:blipFill>
        <p:spPr>
          <a:xfrm>
            <a:off x="5637901" y="2970090"/>
            <a:ext cx="1176314" cy="1010293"/>
          </a:xfrm>
          <a:prstGeom prst="rect">
            <a:avLst/>
          </a:prstGeom>
        </p:spPr>
      </p:pic>
      <p:pic>
        <p:nvPicPr>
          <p:cNvPr id="14" name="Picture 13" descr="A picture containing logo&#10;&#10;Description automatically generated">
            <a:extLst>
              <a:ext uri="{FF2B5EF4-FFF2-40B4-BE49-F238E27FC236}">
                <a16:creationId xmlns:a16="http://schemas.microsoft.com/office/drawing/2014/main" id="{3B6E704A-176D-563D-A947-FD3AB73B683F}"/>
              </a:ext>
            </a:extLst>
          </p:cNvPr>
          <p:cNvPicPr>
            <a:picLocks noChangeAspect="1"/>
          </p:cNvPicPr>
          <p:nvPr/>
        </p:nvPicPr>
        <p:blipFill>
          <a:blip r:embed="rId3"/>
          <a:stretch>
            <a:fillRect/>
          </a:stretch>
        </p:blipFill>
        <p:spPr>
          <a:xfrm>
            <a:off x="4149333" y="2198126"/>
            <a:ext cx="2348997" cy="1319452"/>
          </a:xfrm>
          <a:prstGeom prst="rect">
            <a:avLst/>
          </a:prstGeom>
        </p:spPr>
      </p:pic>
      <p:pic>
        <p:nvPicPr>
          <p:cNvPr id="16" name="Picture 15" descr="Graphical user interface&#10;&#10;Description automatically generated">
            <a:extLst>
              <a:ext uri="{FF2B5EF4-FFF2-40B4-BE49-F238E27FC236}">
                <a16:creationId xmlns:a16="http://schemas.microsoft.com/office/drawing/2014/main" id="{813BD376-5374-E890-968B-E7C7C1EACF24}"/>
              </a:ext>
            </a:extLst>
          </p:cNvPr>
          <p:cNvPicPr>
            <a:picLocks noChangeAspect="1"/>
          </p:cNvPicPr>
          <p:nvPr/>
        </p:nvPicPr>
        <p:blipFill>
          <a:blip r:embed="rId4"/>
          <a:stretch>
            <a:fillRect/>
          </a:stretch>
        </p:blipFill>
        <p:spPr>
          <a:xfrm>
            <a:off x="6853193" y="2514524"/>
            <a:ext cx="1534363" cy="861865"/>
          </a:xfrm>
          <a:prstGeom prst="rect">
            <a:avLst/>
          </a:prstGeom>
        </p:spPr>
      </p:pic>
      <p:pic>
        <p:nvPicPr>
          <p:cNvPr id="22" name="Picture 21" descr="A picture containing diagram&#10;&#10;Description automatically generated">
            <a:extLst>
              <a:ext uri="{FF2B5EF4-FFF2-40B4-BE49-F238E27FC236}">
                <a16:creationId xmlns:a16="http://schemas.microsoft.com/office/drawing/2014/main" id="{D5967B6E-2682-2586-B605-E79697D6E5AE}"/>
              </a:ext>
            </a:extLst>
          </p:cNvPr>
          <p:cNvPicPr>
            <a:picLocks noChangeAspect="1"/>
          </p:cNvPicPr>
          <p:nvPr/>
        </p:nvPicPr>
        <p:blipFill>
          <a:blip r:embed="rId5"/>
          <a:stretch>
            <a:fillRect/>
          </a:stretch>
        </p:blipFill>
        <p:spPr>
          <a:xfrm>
            <a:off x="6212258" y="2498488"/>
            <a:ext cx="1534363" cy="861865"/>
          </a:xfrm>
          <a:prstGeom prst="rect">
            <a:avLst/>
          </a:prstGeom>
        </p:spPr>
      </p:pic>
      <p:pic>
        <p:nvPicPr>
          <p:cNvPr id="24" name="Picture 23" descr="Graphical user interface&#10;&#10;Description automatically generated with low confidence">
            <a:extLst>
              <a:ext uri="{FF2B5EF4-FFF2-40B4-BE49-F238E27FC236}">
                <a16:creationId xmlns:a16="http://schemas.microsoft.com/office/drawing/2014/main" id="{3D2C24A6-B176-8E12-B0FB-7D45A853B23C}"/>
              </a:ext>
            </a:extLst>
          </p:cNvPr>
          <p:cNvPicPr>
            <a:picLocks noChangeAspect="1"/>
          </p:cNvPicPr>
          <p:nvPr/>
        </p:nvPicPr>
        <p:blipFill>
          <a:blip r:embed="rId6"/>
          <a:stretch>
            <a:fillRect/>
          </a:stretch>
        </p:blipFill>
        <p:spPr>
          <a:xfrm>
            <a:off x="5472676" y="2471980"/>
            <a:ext cx="1534363" cy="861865"/>
          </a:xfrm>
          <a:prstGeom prst="rect">
            <a:avLst/>
          </a:prstGeom>
        </p:spPr>
      </p:pic>
      <p:graphicFrame>
        <p:nvGraphicFramePr>
          <p:cNvPr id="36" name="Table 35">
            <a:extLst>
              <a:ext uri="{FF2B5EF4-FFF2-40B4-BE49-F238E27FC236}">
                <a16:creationId xmlns:a16="http://schemas.microsoft.com/office/drawing/2014/main" id="{8B327683-5F78-9B79-0208-5C45B4B41D2E}"/>
              </a:ext>
            </a:extLst>
          </p:cNvPr>
          <p:cNvGraphicFramePr>
            <a:graphicFrameLocks noGrp="1"/>
          </p:cNvGraphicFramePr>
          <p:nvPr/>
        </p:nvGraphicFramePr>
        <p:xfrm>
          <a:off x="3312809" y="3982939"/>
          <a:ext cx="3687298" cy="900016"/>
        </p:xfrm>
        <a:graphic>
          <a:graphicData uri="http://schemas.openxmlformats.org/drawingml/2006/table">
            <a:tbl>
              <a:tblPr firstRow="1" bandRow="1">
                <a:tableStyleId>{2D5ABB26-0587-4C30-8999-92F81FD0307C}</a:tableStyleId>
              </a:tblPr>
              <a:tblGrid>
                <a:gridCol w="1764016">
                  <a:extLst>
                    <a:ext uri="{9D8B030D-6E8A-4147-A177-3AD203B41FA5}">
                      <a16:colId xmlns:a16="http://schemas.microsoft.com/office/drawing/2014/main" val="3738590716"/>
                    </a:ext>
                  </a:extLst>
                </a:gridCol>
                <a:gridCol w="1923282">
                  <a:extLst>
                    <a:ext uri="{9D8B030D-6E8A-4147-A177-3AD203B41FA5}">
                      <a16:colId xmlns:a16="http://schemas.microsoft.com/office/drawing/2014/main" val="3750538898"/>
                    </a:ext>
                  </a:extLst>
                </a:gridCol>
              </a:tblGrid>
              <a:tr h="225004">
                <a:tc>
                  <a:txBody>
                    <a:bodyPr/>
                    <a:lstStyle/>
                    <a:p>
                      <a:pPr marL="85725" marR="0" lvl="0" indent="0"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Open Sans" panose="020B0606030504020204" pitchFamily="34" charset="0"/>
                          <a:cs typeface="Open Sans" panose="020B0606030504020204" pitchFamily="34" charset="0"/>
                        </a:rPr>
                        <a:t>Colour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High colour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225004">
                <a:tc>
                  <a:txBody>
                    <a:bodyPr/>
                    <a:lstStyle/>
                    <a:p>
                      <a:pPr marL="85725" marR="0" lvl="0" indent="0"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Open Sans" panose="020B0606030504020204" pitchFamily="34" charset="0"/>
                          <a:cs typeface="Open Sans" panose="020B0606030504020204" pitchFamily="34" charset="0"/>
                        </a:rPr>
                        <a:t>Algae &amp; Fungus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High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225004">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Alkali Resistanc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High resistanc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Durability / Warran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6 yea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pic>
        <p:nvPicPr>
          <p:cNvPr id="7" name="Picture 6" descr="A blue and yellow container with a blue lid&#10;&#10;Description automatically generated">
            <a:extLst>
              <a:ext uri="{FF2B5EF4-FFF2-40B4-BE49-F238E27FC236}">
                <a16:creationId xmlns:a16="http://schemas.microsoft.com/office/drawing/2014/main" id="{2A265EED-F9EA-D100-A550-DB707A84CB54}"/>
              </a:ext>
            </a:extLst>
          </p:cNvPr>
          <p:cNvPicPr>
            <a:picLocks noChangeAspect="1"/>
          </p:cNvPicPr>
          <p:nvPr/>
        </p:nvPicPr>
        <p:blipFill>
          <a:blip r:embed="rId7"/>
          <a:stretch>
            <a:fillRect/>
          </a:stretch>
        </p:blipFill>
        <p:spPr>
          <a:xfrm>
            <a:off x="7193061" y="295624"/>
            <a:ext cx="1744645" cy="1877820"/>
          </a:xfrm>
          <a:prstGeom prst="rect">
            <a:avLst/>
          </a:prstGeom>
        </p:spPr>
      </p:pic>
      <p:pic>
        <p:nvPicPr>
          <p:cNvPr id="9" name="Picture 8" descr="A red and yellow circle with text and numbers&#10;&#10;Description automatically generated">
            <a:extLst>
              <a:ext uri="{FF2B5EF4-FFF2-40B4-BE49-F238E27FC236}">
                <a16:creationId xmlns:a16="http://schemas.microsoft.com/office/drawing/2014/main" id="{6C2E4D62-EB65-DDA3-2E9A-16F498C79731}"/>
              </a:ext>
            </a:extLst>
          </p:cNvPr>
          <p:cNvPicPr>
            <a:picLocks noChangeAspect="1"/>
          </p:cNvPicPr>
          <p:nvPr/>
        </p:nvPicPr>
        <p:blipFill>
          <a:blip r:embed="rId8"/>
          <a:stretch>
            <a:fillRect/>
          </a:stretch>
        </p:blipFill>
        <p:spPr>
          <a:xfrm>
            <a:off x="8188245" y="2386865"/>
            <a:ext cx="861866" cy="861866"/>
          </a:xfrm>
          <a:prstGeom prst="rect">
            <a:avLst/>
          </a:prstGeom>
        </p:spPr>
      </p:pic>
      <p:pic>
        <p:nvPicPr>
          <p:cNvPr id="10" name="Picture 9">
            <a:extLst>
              <a:ext uri="{FF2B5EF4-FFF2-40B4-BE49-F238E27FC236}">
                <a16:creationId xmlns:a16="http://schemas.microsoft.com/office/drawing/2014/main" id="{8F4E54F3-8219-A042-DD3B-0DB362301B36}"/>
              </a:ext>
            </a:extLst>
          </p:cNvPr>
          <p:cNvPicPr>
            <a:picLocks noChangeAspect="1"/>
          </p:cNvPicPr>
          <p:nvPr/>
        </p:nvPicPr>
        <p:blipFill>
          <a:blip r:embed="rId9"/>
          <a:stretch>
            <a:fillRect/>
          </a:stretch>
        </p:blipFill>
        <p:spPr>
          <a:xfrm>
            <a:off x="4965804" y="1114239"/>
            <a:ext cx="2061488" cy="1030744"/>
          </a:xfrm>
          <a:prstGeom prst="rect">
            <a:avLst/>
          </a:prstGeom>
        </p:spPr>
      </p:pic>
    </p:spTree>
    <p:extLst>
      <p:ext uri="{BB962C8B-B14F-4D97-AF65-F5344CB8AC3E}">
        <p14:creationId xmlns:p14="http://schemas.microsoft.com/office/powerpoint/2010/main" val="21092325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12</a:t>
            </a:fld>
            <a:endParaRPr lang="en-US" dirty="0"/>
          </a:p>
        </p:txBody>
      </p:sp>
      <p:sp>
        <p:nvSpPr>
          <p:cNvPr id="3" name="Footer Placeholder 2">
            <a:extLst>
              <a:ext uri="{FF2B5EF4-FFF2-40B4-BE49-F238E27FC236}">
                <a16:creationId xmlns:a16="http://schemas.microsoft.com/office/drawing/2014/main" id="{E2190534-3CAA-D1B7-DDC1-F5334E469BAE}"/>
              </a:ext>
            </a:extLst>
          </p:cNvPr>
          <p:cNvSpPr>
            <a:spLocks noGrp="1"/>
          </p:cNvSpPr>
          <p:nvPr>
            <p:ph type="ftr" sz="quarter" idx="11"/>
          </p:nvPr>
        </p:nvSpPr>
        <p:spPr/>
        <p:txBody>
          <a:bodyPr/>
          <a:lstStyle/>
          <a:p>
            <a:r>
              <a:rPr lang="en-US" noProof="0"/>
              <a:t>Business unit | Footer</a:t>
            </a:r>
            <a:endParaRPr lang="en-US" noProof="0" dirty="0"/>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p:txBody>
          <a:bodyPr/>
          <a:lstStyle/>
          <a:p>
            <a:r>
              <a:rPr lang="en-SG" dirty="0"/>
              <a:t>WATERPROOFING</a:t>
            </a:r>
          </a:p>
        </p:txBody>
      </p:sp>
    </p:spTree>
    <p:extLst>
      <p:ext uri="{BB962C8B-B14F-4D97-AF65-F5344CB8AC3E}">
        <p14:creationId xmlns:p14="http://schemas.microsoft.com/office/powerpoint/2010/main" val="8515684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1982508730"/>
              </p:ext>
            </p:extLst>
          </p:nvPr>
        </p:nvGraphicFramePr>
        <p:xfrm>
          <a:off x="220445" y="540030"/>
          <a:ext cx="4106468" cy="3253011"/>
        </p:xfrm>
        <a:graphic>
          <a:graphicData uri="http://schemas.openxmlformats.org/drawingml/2006/table">
            <a:tbl>
              <a:tblPr firstRow="1" bandRow="1">
                <a:tableStyleId>{5940675A-B579-460E-94D1-54222C63F5DA}</a:tableStyleId>
              </a:tblPr>
              <a:tblGrid>
                <a:gridCol w="4106468">
                  <a:extLst>
                    <a:ext uri="{9D8B030D-6E8A-4147-A177-3AD203B41FA5}">
                      <a16:colId xmlns:a16="http://schemas.microsoft.com/office/drawing/2014/main" val="965239065"/>
                    </a:ext>
                  </a:extLst>
                </a:gridCol>
              </a:tblGrid>
              <a:tr h="247274">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1003643">
                <a:tc>
                  <a:txBody>
                    <a:bodyPr/>
                    <a:lstStyle/>
                    <a:p>
                      <a:r>
                        <a:rPr lang="en-US" sz="900" dirty="0"/>
                        <a:t>Our house is our pride and biggest investment, built to last for generations. In our humid climate dampness and water seepage impacts the structure and safety of our house. </a:t>
                      </a:r>
                    </a:p>
                    <a:p>
                      <a:pPr marL="171450" indent="-171450">
                        <a:buFont typeface="Wingdings" panose="05000000000000000000" pitchFamily="2" charset="2"/>
                        <a:buChar char="ü"/>
                      </a:pPr>
                      <a:r>
                        <a:rPr lang="en-US" sz="900" dirty="0"/>
                        <a:t>How can I prevent water leaking &amp; seepage on horizontal exterior roofs/terraces?</a:t>
                      </a:r>
                    </a:p>
                    <a:p>
                      <a:pPr marL="171450" indent="-171450">
                        <a:buFont typeface="Wingdings" panose="05000000000000000000" pitchFamily="2" charset="2"/>
                        <a:buChar char="ü"/>
                      </a:pPr>
                      <a:r>
                        <a:rPr lang="en-US" sz="900" dirty="0"/>
                        <a:t>I need a thorough and long lasting solution to get the dampness out and prevent it from coming b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47274">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946676">
                <a:tc>
                  <a:txBody>
                    <a:bodyPr/>
                    <a:lstStyle/>
                    <a:p>
                      <a:r>
                        <a:rPr lang="en-US" sz="900" b="1" dirty="0"/>
                        <a:t>Dulux </a:t>
                      </a:r>
                      <a:r>
                        <a:rPr lang="en-US" sz="900" b="1" dirty="0" err="1"/>
                        <a:t>Aquatech</a:t>
                      </a:r>
                      <a:r>
                        <a:rPr lang="en-US" sz="900" b="1" dirty="0"/>
                        <a:t> Roof Waterproof </a:t>
                      </a:r>
                      <a:r>
                        <a:rPr lang="en-US" sz="900" dirty="0"/>
                        <a:t>is a premium liquid applied horizontal waterproofing solution which provides protection for roofs &amp; surfaces for up to 8 year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dirty="0"/>
                        <a:t>With </a:t>
                      </a:r>
                      <a:r>
                        <a:rPr lang="en-US" sz="900" b="1" i="1" dirty="0" err="1"/>
                        <a:t>HydroResist</a:t>
                      </a:r>
                      <a:r>
                        <a:rPr lang="en-US" sz="900" b="1" i="1" dirty="0"/>
                        <a:t> Technology</a:t>
                      </a:r>
                      <a:r>
                        <a:rPr lang="en-US" sz="900" i="1" dirty="0"/>
                        <a:t>, it forms an impenetrable, tough film up to 600-800 microns over porous roofs / terraces. </a:t>
                      </a:r>
                      <a:endParaRPr lang="en-US" sz="9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47274">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477535">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SG" sz="900" b="0" dirty="0">
                          <a:latin typeface="+mn-lt"/>
                          <a:ea typeface="Open Sans" panose="020B0606030504020204" pitchFamily="34" charset="0"/>
                          <a:cs typeface="Open Sans" panose="020B0606030504020204" pitchFamily="34" charset="0"/>
                        </a:rPr>
                        <a:t>Stay worry free when it comes to protection of my house from any dampness and seepages issu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220445" y="3910230"/>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847593" y="2109070"/>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4L,10L &amp; 20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nvGraphicFramePr>
        <p:xfrm>
          <a:off x="295818" y="4179305"/>
          <a:ext cx="3272865" cy="810207"/>
        </p:xfrm>
        <a:graphic>
          <a:graphicData uri="http://schemas.openxmlformats.org/drawingml/2006/table">
            <a:tbl>
              <a:tblPr firstRow="1" bandRow="1">
                <a:tableStyleId>{2D5ABB26-0587-4C30-8999-92F81FD0307C}</a:tableStyleId>
              </a:tblPr>
              <a:tblGrid>
                <a:gridCol w="1037853">
                  <a:extLst>
                    <a:ext uri="{9D8B030D-6E8A-4147-A177-3AD203B41FA5}">
                      <a16:colId xmlns:a16="http://schemas.microsoft.com/office/drawing/2014/main" val="2714193207"/>
                    </a:ext>
                  </a:extLst>
                </a:gridCol>
                <a:gridCol w="2235012">
                  <a:extLst>
                    <a:ext uri="{9D8B030D-6E8A-4147-A177-3AD203B41FA5}">
                      <a16:colId xmlns:a16="http://schemas.microsoft.com/office/drawing/2014/main" val="402161752"/>
                    </a:ext>
                  </a:extLst>
                </a:gridCol>
              </a:tblGrid>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Applica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Interior &amp; Exterior Durabl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kern="1200" dirty="0">
                          <a:solidFill>
                            <a:schemeClr val="tx1"/>
                          </a:solidFill>
                          <a:latin typeface="Colour Sans" panose="02000503030000020004"/>
                          <a:ea typeface="+mn-ea"/>
                          <a:cs typeface="+mn-cs"/>
                        </a:rPr>
                        <a:t>Up to 0.74-0.92 m2 / L / 3 coats</a:t>
                      </a:r>
                    </a:p>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rPr>
                        <a:t>Min. 3 coats (recommend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182659">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Ready Mix – Whit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nvGraphicFramePr>
        <p:xfrm>
          <a:off x="3681239" y="4175571"/>
          <a:ext cx="3614969" cy="828550"/>
        </p:xfrm>
        <a:graphic>
          <a:graphicData uri="http://schemas.openxmlformats.org/drawingml/2006/table">
            <a:tbl>
              <a:tblPr firstRow="1" bandRow="1">
                <a:tableStyleId>{2D5ABB26-0587-4C30-8999-92F81FD0307C}</a:tableStyleId>
              </a:tblPr>
              <a:tblGrid>
                <a:gridCol w="1474631">
                  <a:extLst>
                    <a:ext uri="{9D8B030D-6E8A-4147-A177-3AD203B41FA5}">
                      <a16:colId xmlns:a16="http://schemas.microsoft.com/office/drawing/2014/main" val="3738590716"/>
                    </a:ext>
                  </a:extLst>
                </a:gridCol>
                <a:gridCol w="2140338">
                  <a:extLst>
                    <a:ext uri="{9D8B030D-6E8A-4147-A177-3AD203B41FA5}">
                      <a16:colId xmlns:a16="http://schemas.microsoft.com/office/drawing/2014/main" val="3750538898"/>
                    </a:ext>
                  </a:extLst>
                </a:gridCol>
              </a:tblGrid>
              <a:tr h="121392">
                <a:tc>
                  <a:txBody>
                    <a:bodyPr/>
                    <a:lstStyle/>
                    <a:p>
                      <a:pPr marL="0" indent="85725" algn="l" fontAlgn="b"/>
                      <a:r>
                        <a:rPr lang="en-SG" sz="900" b="0" i="0" u="none" strike="noStrike">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proofing Substrat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Horizontal</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27991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Surface Dur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alibri" panose="020F0502020204030204" pitchFamily="34" charset="0"/>
                          <a:cs typeface="Calibri" panose="020F0502020204030204" pitchFamily="34" charset="0"/>
                        </a:rPr>
                        <a:t>Prevents water seepage and carbonation</a:t>
                      </a:r>
                      <a:endPar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121392">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icroorganism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dirty="0">
                          <a:latin typeface="Calibri" panose="020F0502020204030204" pitchFamily="34" charset="0"/>
                          <a:cs typeface="Calibri" panose="020F0502020204030204" pitchFamily="34" charset="0"/>
                        </a:rPr>
                        <a:t>  Prevent fungal attacks</a:t>
                      </a:r>
                      <a:endParaRPr lang="en-US" sz="900" kern="1200" dirty="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242784">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Crack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alibri" panose="020F0502020204030204" pitchFamily="34" charset="0"/>
                          <a:cs typeface="Calibri" panose="020F0502020204030204" pitchFamily="34" charset="0"/>
                        </a:rPr>
                        <a:t>The film being highly flexible, it bridges cracks of up to 2mm </a:t>
                      </a:r>
                      <a:endPar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3" name="TextBox 2">
            <a:extLst>
              <a:ext uri="{FF2B5EF4-FFF2-40B4-BE49-F238E27FC236}">
                <a16:creationId xmlns:a16="http://schemas.microsoft.com/office/drawing/2014/main" id="{AFD677D1-9819-3FCB-8A3D-13672FC713BF}"/>
              </a:ext>
            </a:extLst>
          </p:cNvPr>
          <p:cNvSpPr txBox="1"/>
          <p:nvPr/>
        </p:nvSpPr>
        <p:spPr>
          <a:xfrm>
            <a:off x="7674421" y="2621959"/>
            <a:ext cx="1344747" cy="900015"/>
          </a:xfrm>
          <a:prstGeom prst="rect">
            <a:avLst/>
          </a:prstGeom>
          <a:noFill/>
        </p:spPr>
        <p:txBody>
          <a:bodyPr wrap="square" lIns="0" tIns="0" rIns="0" bIns="0" rtlCol="0">
            <a:noAutofit/>
          </a:bodyPr>
          <a:lstStyle/>
          <a:p>
            <a:r>
              <a:rPr lang="en-SG" sz="1100" b="1" dirty="0">
                <a:latin typeface="Colour Sans" panose="02000503030000020004" pitchFamily="2" charset="0"/>
              </a:rPr>
              <a:t>Other benefits:</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Sun Reflect of up to 10 degree Celsius</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Multi-surface adhesion on surfaces like brickbat </a:t>
            </a:r>
            <a:r>
              <a:rPr lang="en-US" sz="1100" dirty="0" err="1">
                <a:latin typeface="Calibri" panose="020F0502020204030204" pitchFamily="34" charset="0"/>
                <a:cs typeface="Calibri" panose="020F0502020204030204" pitchFamily="34" charset="0"/>
              </a:rPr>
              <a:t>coba</a:t>
            </a:r>
            <a:r>
              <a:rPr lang="en-US" sz="1100" dirty="0">
                <a:latin typeface="Calibri" panose="020F0502020204030204" pitchFamily="34" charset="0"/>
                <a:cs typeface="Calibri" panose="020F0502020204030204" pitchFamily="34" charset="0"/>
              </a:rPr>
              <a:t>, plaster, </a:t>
            </a:r>
            <a:r>
              <a:rPr lang="en-US" sz="1100" dirty="0" err="1">
                <a:latin typeface="Calibri" panose="020F0502020204030204" pitchFamily="34" charset="0"/>
                <a:cs typeface="Calibri" panose="020F0502020204030204" pitchFamily="34" charset="0"/>
              </a:rPr>
              <a:t>china</a:t>
            </a:r>
            <a:r>
              <a:rPr lang="en-US" sz="1100" dirty="0">
                <a:latin typeface="Calibri" panose="020F0502020204030204" pitchFamily="34" charset="0"/>
                <a:cs typeface="Calibri" panose="020F0502020204030204" pitchFamily="34" charset="0"/>
              </a:rPr>
              <a:t> chips and mosaic tiles	</a:t>
            </a:r>
          </a:p>
        </p:txBody>
      </p:sp>
      <p:pic>
        <p:nvPicPr>
          <p:cNvPr id="8" name="Picture 7" descr="Icon&#10;&#10;Description automatically generated">
            <a:extLst>
              <a:ext uri="{FF2B5EF4-FFF2-40B4-BE49-F238E27FC236}">
                <a16:creationId xmlns:a16="http://schemas.microsoft.com/office/drawing/2014/main" id="{99160969-E03A-14A5-47DC-DFD410256877}"/>
              </a:ext>
            </a:extLst>
          </p:cNvPr>
          <p:cNvPicPr>
            <a:picLocks noChangeAspect="1"/>
          </p:cNvPicPr>
          <p:nvPr/>
        </p:nvPicPr>
        <p:blipFill>
          <a:blip r:embed="rId2"/>
          <a:stretch>
            <a:fillRect/>
          </a:stretch>
        </p:blipFill>
        <p:spPr>
          <a:xfrm>
            <a:off x="4326914" y="2307035"/>
            <a:ext cx="987198" cy="1236054"/>
          </a:xfrm>
          <a:prstGeom prst="rect">
            <a:avLst/>
          </a:prstGeom>
        </p:spPr>
      </p:pic>
      <p:pic>
        <p:nvPicPr>
          <p:cNvPr id="11" name="Picture 10" descr="Icon&#10;&#10;Description automatically generated">
            <a:extLst>
              <a:ext uri="{FF2B5EF4-FFF2-40B4-BE49-F238E27FC236}">
                <a16:creationId xmlns:a16="http://schemas.microsoft.com/office/drawing/2014/main" id="{DC4DD95A-4D33-4DEB-2BC3-F7AEDB58A703}"/>
              </a:ext>
            </a:extLst>
          </p:cNvPr>
          <p:cNvPicPr>
            <a:picLocks noChangeAspect="1"/>
          </p:cNvPicPr>
          <p:nvPr/>
        </p:nvPicPr>
        <p:blipFill>
          <a:blip r:embed="rId3"/>
          <a:stretch>
            <a:fillRect/>
          </a:stretch>
        </p:blipFill>
        <p:spPr>
          <a:xfrm>
            <a:off x="5264805" y="2451388"/>
            <a:ext cx="701572" cy="704042"/>
          </a:xfrm>
          <a:prstGeom prst="rect">
            <a:avLst/>
          </a:prstGeom>
        </p:spPr>
      </p:pic>
      <p:pic>
        <p:nvPicPr>
          <p:cNvPr id="12" name="Picture 11" descr="Logo, icon&#10;&#10;Description automatically generated">
            <a:extLst>
              <a:ext uri="{FF2B5EF4-FFF2-40B4-BE49-F238E27FC236}">
                <a16:creationId xmlns:a16="http://schemas.microsoft.com/office/drawing/2014/main" id="{C567F378-D369-7BE7-CAE0-03F6BA8126F8}"/>
              </a:ext>
            </a:extLst>
          </p:cNvPr>
          <p:cNvPicPr>
            <a:picLocks noChangeAspect="1"/>
          </p:cNvPicPr>
          <p:nvPr/>
        </p:nvPicPr>
        <p:blipFill>
          <a:blip r:embed="rId4"/>
          <a:stretch>
            <a:fillRect/>
          </a:stretch>
        </p:blipFill>
        <p:spPr>
          <a:xfrm>
            <a:off x="6042493" y="2424868"/>
            <a:ext cx="710784" cy="710784"/>
          </a:xfrm>
          <a:prstGeom prst="rect">
            <a:avLst/>
          </a:prstGeom>
        </p:spPr>
      </p:pic>
      <p:pic>
        <p:nvPicPr>
          <p:cNvPr id="13" name="Picture 12" descr="Icon&#10;&#10;Description automatically generated">
            <a:extLst>
              <a:ext uri="{FF2B5EF4-FFF2-40B4-BE49-F238E27FC236}">
                <a16:creationId xmlns:a16="http://schemas.microsoft.com/office/drawing/2014/main" id="{05D1BC74-4EF8-9356-12C1-8A97FF5A802A}"/>
              </a:ext>
            </a:extLst>
          </p:cNvPr>
          <p:cNvPicPr>
            <a:picLocks noChangeAspect="1"/>
          </p:cNvPicPr>
          <p:nvPr/>
        </p:nvPicPr>
        <p:blipFill>
          <a:blip r:embed="rId5"/>
          <a:stretch>
            <a:fillRect/>
          </a:stretch>
        </p:blipFill>
        <p:spPr>
          <a:xfrm>
            <a:off x="6837877" y="2451388"/>
            <a:ext cx="628952" cy="631166"/>
          </a:xfrm>
          <a:prstGeom prst="rect">
            <a:avLst/>
          </a:prstGeom>
        </p:spPr>
      </p:pic>
      <p:sp>
        <p:nvSpPr>
          <p:cNvPr id="10" name="Title 7">
            <a:extLst>
              <a:ext uri="{FF2B5EF4-FFF2-40B4-BE49-F238E27FC236}">
                <a16:creationId xmlns:a16="http://schemas.microsoft.com/office/drawing/2014/main" id="{C5D0DF65-E24B-D984-70FE-81D61BD4EE94}"/>
              </a:ext>
            </a:extLst>
          </p:cNvPr>
          <p:cNvSpPr txBox="1">
            <a:spLocks/>
          </p:cNvSpPr>
          <p:nvPr/>
        </p:nvSpPr>
        <p:spPr>
          <a:xfrm>
            <a:off x="-66980" y="29810"/>
            <a:ext cx="9855557" cy="372542"/>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000" dirty="0"/>
              <a:t>Liquid Applied Horizontal - Dulux </a:t>
            </a:r>
            <a:r>
              <a:rPr lang="en-US" sz="2000" dirty="0" err="1"/>
              <a:t>Aquatech</a:t>
            </a:r>
            <a:r>
              <a:rPr lang="en-US" sz="2000" dirty="0"/>
              <a:t> Roof WTP</a:t>
            </a:r>
            <a:endParaRPr lang="en-SG" sz="2000" dirty="0">
              <a:latin typeface="Colour Sans" panose="02000503030000020004" pitchFamily="2" charset="0"/>
            </a:endParaRPr>
          </a:p>
        </p:txBody>
      </p:sp>
      <p:pic>
        <p:nvPicPr>
          <p:cNvPr id="15" name="Picture 2" descr="Procedure for Terrace Waterproofing | Roof Waterproofing">
            <a:extLst>
              <a:ext uri="{FF2B5EF4-FFF2-40B4-BE49-F238E27FC236}">
                <a16:creationId xmlns:a16="http://schemas.microsoft.com/office/drawing/2014/main" id="{09AB2229-D400-CAC1-380B-348BB55C224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38543" b="55523"/>
          <a:stretch/>
        </p:blipFill>
        <p:spPr bwMode="auto">
          <a:xfrm>
            <a:off x="4400770" y="555892"/>
            <a:ext cx="3211721" cy="167913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44997185-152A-943B-3FCC-2648EAB8615B}"/>
              </a:ext>
            </a:extLst>
          </p:cNvPr>
          <p:cNvPicPr>
            <a:picLocks noChangeAspect="1"/>
          </p:cNvPicPr>
          <p:nvPr/>
        </p:nvPicPr>
        <p:blipFill>
          <a:blip r:embed="rId7"/>
          <a:stretch>
            <a:fillRect/>
          </a:stretch>
        </p:blipFill>
        <p:spPr>
          <a:xfrm>
            <a:off x="7612491" y="547534"/>
            <a:ext cx="1524000" cy="1524000"/>
          </a:xfrm>
          <a:prstGeom prst="rect">
            <a:avLst/>
          </a:prstGeom>
        </p:spPr>
      </p:pic>
      <p:sp>
        <p:nvSpPr>
          <p:cNvPr id="22" name="TextBox 21">
            <a:extLst>
              <a:ext uri="{FF2B5EF4-FFF2-40B4-BE49-F238E27FC236}">
                <a16:creationId xmlns:a16="http://schemas.microsoft.com/office/drawing/2014/main" id="{1F49E9F4-AE1E-EFFA-9870-6AE9B98F7B7C}"/>
              </a:ext>
            </a:extLst>
          </p:cNvPr>
          <p:cNvSpPr txBox="1"/>
          <p:nvPr/>
        </p:nvSpPr>
        <p:spPr>
          <a:xfrm>
            <a:off x="6152280" y="3164873"/>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Bridges Cracks </a:t>
            </a:r>
          </a:p>
        </p:txBody>
      </p:sp>
      <p:sp>
        <p:nvSpPr>
          <p:cNvPr id="23" name="TextBox 22">
            <a:extLst>
              <a:ext uri="{FF2B5EF4-FFF2-40B4-BE49-F238E27FC236}">
                <a16:creationId xmlns:a16="http://schemas.microsoft.com/office/drawing/2014/main" id="{CA00F2E2-3907-7AA9-BE7B-A29F257776E7}"/>
              </a:ext>
            </a:extLst>
          </p:cNvPr>
          <p:cNvSpPr txBox="1"/>
          <p:nvPr/>
        </p:nvSpPr>
        <p:spPr>
          <a:xfrm>
            <a:off x="6836440" y="3152110"/>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Foot Trafficable</a:t>
            </a:r>
          </a:p>
        </p:txBody>
      </p:sp>
      <p:sp>
        <p:nvSpPr>
          <p:cNvPr id="24" name="TextBox 23">
            <a:extLst>
              <a:ext uri="{FF2B5EF4-FFF2-40B4-BE49-F238E27FC236}">
                <a16:creationId xmlns:a16="http://schemas.microsoft.com/office/drawing/2014/main" id="{A29227FF-9C00-E65A-2F59-23BA82D85461}"/>
              </a:ext>
            </a:extLst>
          </p:cNvPr>
          <p:cNvSpPr txBox="1"/>
          <p:nvPr/>
        </p:nvSpPr>
        <p:spPr>
          <a:xfrm>
            <a:off x="7316154" y="4229100"/>
            <a:ext cx="914400" cy="914400"/>
          </a:xfrm>
          <a:prstGeom prst="rect">
            <a:avLst/>
          </a:prstGeom>
          <a:noFill/>
        </p:spPr>
        <p:txBody>
          <a:bodyPr wrap="none" lIns="0" tIns="0" rIns="0" bIns="0" rtlCol="0">
            <a:noAutofit/>
          </a:bodyPr>
          <a:lstStyle/>
          <a:p>
            <a:r>
              <a:rPr lang="en-US" sz="900" b="0" i="1" dirty="0"/>
              <a:t>Similar Technology available in PK </a:t>
            </a:r>
          </a:p>
          <a:p>
            <a:r>
              <a:rPr lang="en-US" sz="900" b="0" i="1" dirty="0"/>
              <a:t>(Dulux </a:t>
            </a:r>
            <a:r>
              <a:rPr lang="en-US" sz="900" b="0" i="1" dirty="0" err="1"/>
              <a:t>Aquashield</a:t>
            </a:r>
            <a:r>
              <a:rPr lang="en-US" sz="900" b="0" i="1" dirty="0"/>
              <a:t> WTP Roof Coat), </a:t>
            </a:r>
          </a:p>
          <a:p>
            <a:r>
              <a:rPr lang="en-US" sz="900" i="1" dirty="0"/>
              <a:t>TH</a:t>
            </a:r>
            <a:r>
              <a:rPr lang="en-US" sz="900" b="0" i="1" dirty="0"/>
              <a:t> (Dulu</a:t>
            </a:r>
            <a:r>
              <a:rPr lang="en-US" sz="900" i="1" dirty="0"/>
              <a:t>x </a:t>
            </a:r>
            <a:r>
              <a:rPr lang="en-US" sz="900" i="1" dirty="0" err="1"/>
              <a:t>Aquatech</a:t>
            </a:r>
            <a:r>
              <a:rPr lang="en-US" sz="900" i="1" dirty="0"/>
              <a:t> Roof Coat</a:t>
            </a:r>
            <a:r>
              <a:rPr lang="en-US" sz="900" b="0" i="1" dirty="0"/>
              <a:t>), </a:t>
            </a:r>
            <a:endParaRPr lang="en-US" sz="900" i="1" dirty="0"/>
          </a:p>
          <a:p>
            <a:r>
              <a:rPr lang="en-US" sz="900" b="0" i="1" dirty="0"/>
              <a:t>ID (Dulux </a:t>
            </a:r>
            <a:r>
              <a:rPr lang="en-US" sz="900" b="0" i="1" dirty="0" err="1"/>
              <a:t>Aquatech</a:t>
            </a:r>
            <a:r>
              <a:rPr lang="en-US" sz="900" b="0" i="1" dirty="0"/>
              <a:t> Max </a:t>
            </a:r>
            <a:r>
              <a:rPr lang="en-US" sz="900" i="1" dirty="0"/>
              <a:t>WTP),</a:t>
            </a:r>
          </a:p>
          <a:p>
            <a:r>
              <a:rPr lang="en-US" sz="900" b="0" i="1" dirty="0"/>
              <a:t>VN (Dulux </a:t>
            </a:r>
            <a:r>
              <a:rPr lang="en-US" sz="900" b="0" i="1" dirty="0" err="1"/>
              <a:t>Aquatech</a:t>
            </a:r>
            <a:r>
              <a:rPr lang="en-US" sz="900" b="0" i="1" dirty="0"/>
              <a:t> M</a:t>
            </a:r>
            <a:r>
              <a:rPr lang="en-US" sz="900" i="1" dirty="0"/>
              <a:t>ax WTP)</a:t>
            </a:r>
            <a:endParaRPr lang="en-US" sz="900" b="0" i="1" dirty="0"/>
          </a:p>
        </p:txBody>
      </p:sp>
      <p:sp>
        <p:nvSpPr>
          <p:cNvPr id="25" name="TextBox 24">
            <a:extLst>
              <a:ext uri="{FF2B5EF4-FFF2-40B4-BE49-F238E27FC236}">
                <a16:creationId xmlns:a16="http://schemas.microsoft.com/office/drawing/2014/main" id="{242EC244-61FE-87E2-21D8-5A8A0BD523C1}"/>
              </a:ext>
            </a:extLst>
          </p:cNvPr>
          <p:cNvSpPr txBox="1"/>
          <p:nvPr/>
        </p:nvSpPr>
        <p:spPr>
          <a:xfrm>
            <a:off x="5297451" y="3149555"/>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Superior WTP Protection</a:t>
            </a:r>
          </a:p>
        </p:txBody>
      </p:sp>
    </p:spTree>
    <p:extLst>
      <p:ext uri="{BB962C8B-B14F-4D97-AF65-F5344CB8AC3E}">
        <p14:creationId xmlns:p14="http://schemas.microsoft.com/office/powerpoint/2010/main" val="26100561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2569688901"/>
              </p:ext>
            </p:extLst>
          </p:nvPr>
        </p:nvGraphicFramePr>
        <p:xfrm>
          <a:off x="146360" y="409370"/>
          <a:ext cx="4175048" cy="3304430"/>
        </p:xfrm>
        <a:graphic>
          <a:graphicData uri="http://schemas.openxmlformats.org/drawingml/2006/table">
            <a:tbl>
              <a:tblPr firstRow="1" bandRow="1">
                <a:tableStyleId>{5940675A-B579-460E-94D1-54222C63F5DA}</a:tableStyleId>
              </a:tblPr>
              <a:tblGrid>
                <a:gridCol w="4175048">
                  <a:extLst>
                    <a:ext uri="{9D8B030D-6E8A-4147-A177-3AD203B41FA5}">
                      <a16:colId xmlns:a16="http://schemas.microsoft.com/office/drawing/2014/main" val="965239065"/>
                    </a:ext>
                  </a:extLst>
                </a:gridCol>
              </a:tblGrid>
              <a:tr h="230073">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933827">
                <a:tc>
                  <a:txBody>
                    <a:bodyPr/>
                    <a:lstStyle/>
                    <a:p>
                      <a:r>
                        <a:rPr lang="en-US" sz="900" dirty="0"/>
                        <a:t>Our house is our pride and biggest investment, built to last for generations. In our humid climate dampness and water seepage impacts the structure and safety of our house. </a:t>
                      </a:r>
                    </a:p>
                    <a:p>
                      <a:pPr marL="171450" indent="-171450">
                        <a:buFont typeface="Wingdings" panose="05000000000000000000" pitchFamily="2" charset="2"/>
                        <a:buChar char="ü"/>
                      </a:pPr>
                      <a:r>
                        <a:rPr lang="en-US" sz="900" dirty="0"/>
                        <a:t>How can I prevent water leaking &amp; seepage on both vertical and horizontal exterior surfaces ?</a:t>
                      </a:r>
                    </a:p>
                    <a:p>
                      <a:pPr marL="171450" indent="-171450">
                        <a:buFont typeface="Wingdings" panose="05000000000000000000" pitchFamily="2" charset="2"/>
                        <a:buChar char="ü"/>
                      </a:pPr>
                      <a:r>
                        <a:rPr lang="en-US" sz="900" dirty="0"/>
                        <a:t>I need a thorough and long lasting solution to get the dampness out and prevent it from coming b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30073">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933827">
                <a:tc>
                  <a:txBody>
                    <a:bodyPr/>
                    <a:lstStyle/>
                    <a:p>
                      <a:r>
                        <a:rPr lang="en-US" sz="900" b="1" dirty="0"/>
                        <a:t>Dulux </a:t>
                      </a:r>
                      <a:r>
                        <a:rPr lang="en-US" sz="900" b="1" dirty="0" err="1"/>
                        <a:t>Aquatech</a:t>
                      </a:r>
                      <a:r>
                        <a:rPr lang="en-US" sz="900" b="1" dirty="0"/>
                        <a:t> PU Coat </a:t>
                      </a:r>
                      <a:r>
                        <a:rPr lang="en-US" sz="900" dirty="0"/>
                        <a:t>is a PU bases elastomeric liquid applied </a:t>
                      </a:r>
                      <a:r>
                        <a:rPr lang="en-US" sz="900" dirty="0" err="1"/>
                        <a:t>memberane</a:t>
                      </a:r>
                      <a:r>
                        <a:rPr lang="en-US" sz="900" dirty="0"/>
                        <a:t> which provides protection the vertical and horizontal surfaces for </a:t>
                      </a:r>
                      <a:r>
                        <a:rPr lang="en-US" sz="900" dirty="0" err="1"/>
                        <a:t>upto</a:t>
                      </a:r>
                      <a:r>
                        <a:rPr lang="en-US" sz="900" dirty="0"/>
                        <a:t> 15 Years </a:t>
                      </a:r>
                    </a:p>
                    <a:p>
                      <a:endParaRPr lang="en-US" sz="900" i="1" dirty="0"/>
                    </a:p>
                    <a:p>
                      <a:r>
                        <a:rPr lang="en-US" sz="900" i="1" dirty="0"/>
                        <a:t>With </a:t>
                      </a:r>
                      <a:r>
                        <a:rPr lang="en-US" sz="900" b="1" i="1" dirty="0" err="1"/>
                        <a:t>HydroResist</a:t>
                      </a:r>
                      <a:r>
                        <a:rPr lang="en-US" sz="900" b="1" i="1" dirty="0"/>
                        <a:t> Technology</a:t>
                      </a:r>
                      <a:r>
                        <a:rPr lang="en-US" sz="900" i="1" dirty="0"/>
                        <a:t>, it forms an impenetrable, tough film up to 600-800 microns over porous roofs / terraces and 200-240 microns on vertical surfaces. </a:t>
                      </a:r>
                      <a:endParaRPr lang="en-US" sz="9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30073">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424070">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SG" sz="900" b="0" dirty="0">
                          <a:latin typeface="+mn-lt"/>
                          <a:ea typeface="Open Sans" panose="020B0606030504020204" pitchFamily="34" charset="0"/>
                          <a:cs typeface="Open Sans" panose="020B0606030504020204" pitchFamily="34" charset="0"/>
                        </a:rPr>
                        <a:t>Stay worry free when it comes to protection of my house from any dampness and seepages issu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220445" y="3728581"/>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847593" y="2109070"/>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4L &amp; 20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extLst>
              <p:ext uri="{D42A27DB-BD31-4B8C-83A1-F6EECF244321}">
                <p14:modId xmlns:p14="http://schemas.microsoft.com/office/powerpoint/2010/main" val="3613874971"/>
              </p:ext>
            </p:extLst>
          </p:nvPr>
        </p:nvGraphicFramePr>
        <p:xfrm>
          <a:off x="220445" y="3930719"/>
          <a:ext cx="3614969" cy="1084527"/>
        </p:xfrm>
        <a:graphic>
          <a:graphicData uri="http://schemas.openxmlformats.org/drawingml/2006/table">
            <a:tbl>
              <a:tblPr firstRow="1" bandRow="1">
                <a:tableStyleId>{2D5ABB26-0587-4C30-8999-92F81FD0307C}</a:tableStyleId>
              </a:tblPr>
              <a:tblGrid>
                <a:gridCol w="1045107">
                  <a:extLst>
                    <a:ext uri="{9D8B030D-6E8A-4147-A177-3AD203B41FA5}">
                      <a16:colId xmlns:a16="http://schemas.microsoft.com/office/drawing/2014/main" val="2714193207"/>
                    </a:ext>
                  </a:extLst>
                </a:gridCol>
                <a:gridCol w="2569862">
                  <a:extLst>
                    <a:ext uri="{9D8B030D-6E8A-4147-A177-3AD203B41FA5}">
                      <a16:colId xmlns:a16="http://schemas.microsoft.com/office/drawing/2014/main" val="402161752"/>
                    </a:ext>
                  </a:extLst>
                </a:gridCol>
              </a:tblGrid>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Applica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Interior &amp; Exterior Durabl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kern="1200" dirty="0">
                          <a:solidFill>
                            <a:schemeClr val="tx1"/>
                          </a:solidFill>
                          <a:latin typeface="Colour Sans" panose="02000503030000020004"/>
                          <a:ea typeface="+mn-ea"/>
                          <a:cs typeface="+mn-cs"/>
                        </a:rPr>
                        <a:t>Up to 0.74-0.92 m2 / L / 3 coats</a:t>
                      </a:r>
                    </a:p>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rPr>
                        <a:t>Min. 3 coats for Horizontal surfaces (recommended)</a:t>
                      </a:r>
                    </a:p>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err="1">
                          <a:ln>
                            <a:noFill/>
                          </a:ln>
                          <a:solidFill>
                            <a:srgbClr val="000000"/>
                          </a:solidFill>
                          <a:effectLst/>
                          <a:uLnTx/>
                          <a:uFillTx/>
                          <a:latin typeface="Colour Sans" panose="02000503030000020004"/>
                          <a:ea typeface="+mn-ea"/>
                          <a:cs typeface="+mn-cs"/>
                        </a:rPr>
                        <a:t>Upto</a:t>
                      </a:r>
                      <a:r>
                        <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rPr>
                        <a:t> 3.71 </a:t>
                      </a:r>
                      <a:r>
                        <a:rPr lang="en-US" sz="900" kern="1200" dirty="0">
                          <a:solidFill>
                            <a:schemeClr val="tx1"/>
                          </a:solidFill>
                          <a:latin typeface="Colour Sans" panose="02000503030000020004"/>
                          <a:ea typeface="+mn-ea"/>
                          <a:cs typeface="+mn-cs"/>
                        </a:rPr>
                        <a:t>m2 / L /Coat (Forced Coverage) for vertical surfaces</a:t>
                      </a:r>
                      <a:endPar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182659">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Ready Mix – Whit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extLst>
              <p:ext uri="{D42A27DB-BD31-4B8C-83A1-F6EECF244321}">
                <p14:modId xmlns:p14="http://schemas.microsoft.com/office/powerpoint/2010/main" val="1872098960"/>
              </p:ext>
            </p:extLst>
          </p:nvPr>
        </p:nvGraphicFramePr>
        <p:xfrm>
          <a:off x="3990872" y="3905672"/>
          <a:ext cx="3475957" cy="1134522"/>
        </p:xfrm>
        <a:graphic>
          <a:graphicData uri="http://schemas.openxmlformats.org/drawingml/2006/table">
            <a:tbl>
              <a:tblPr firstRow="1" bandRow="1">
                <a:tableStyleId>{2D5ABB26-0587-4C30-8999-92F81FD0307C}</a:tableStyleId>
              </a:tblPr>
              <a:tblGrid>
                <a:gridCol w="1417925">
                  <a:extLst>
                    <a:ext uri="{9D8B030D-6E8A-4147-A177-3AD203B41FA5}">
                      <a16:colId xmlns:a16="http://schemas.microsoft.com/office/drawing/2014/main" val="3738590716"/>
                    </a:ext>
                  </a:extLst>
                </a:gridCol>
                <a:gridCol w="2058032">
                  <a:extLst>
                    <a:ext uri="{9D8B030D-6E8A-4147-A177-3AD203B41FA5}">
                      <a16:colId xmlns:a16="http://schemas.microsoft.com/office/drawing/2014/main" val="3750538898"/>
                    </a:ext>
                  </a:extLst>
                </a:gridCol>
              </a:tblGrid>
              <a:tr h="187811">
                <a:tc>
                  <a:txBody>
                    <a:bodyPr/>
                    <a:lstStyle/>
                    <a:p>
                      <a:pPr marL="0" indent="85725" algn="l" fontAlgn="b"/>
                      <a:r>
                        <a:rPr lang="en-SG" sz="900" b="0" i="0" u="none" strike="noStrike">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proofing Substrat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Horizontal , Vertical </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383277">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Surface Dur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alibri" panose="020F0502020204030204" pitchFamily="34" charset="0"/>
                          <a:cs typeface="Calibri" panose="020F0502020204030204" pitchFamily="34" charset="0"/>
                        </a:rPr>
                        <a:t>Prevents water seepage and carbonation</a:t>
                      </a:r>
                      <a:endPar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187811">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icroorganism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dirty="0">
                          <a:latin typeface="Calibri" panose="020F0502020204030204" pitchFamily="34" charset="0"/>
                          <a:cs typeface="Calibri" panose="020F0502020204030204" pitchFamily="34" charset="0"/>
                        </a:rPr>
                        <a:t>  Prevent fungal attacks</a:t>
                      </a:r>
                      <a:endParaRPr lang="en-US" sz="900" kern="1200" dirty="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375623">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Crack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alibri" panose="020F0502020204030204" pitchFamily="34" charset="0"/>
                          <a:cs typeface="Calibri" panose="020F0502020204030204" pitchFamily="34" charset="0"/>
                        </a:rPr>
                        <a:t>The film being highly flexible, it bridges cracks of up to 4mm </a:t>
                      </a:r>
                      <a:endPar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3" name="TextBox 2">
            <a:extLst>
              <a:ext uri="{FF2B5EF4-FFF2-40B4-BE49-F238E27FC236}">
                <a16:creationId xmlns:a16="http://schemas.microsoft.com/office/drawing/2014/main" id="{AFD677D1-9819-3FCB-8A3D-13672FC713BF}"/>
              </a:ext>
            </a:extLst>
          </p:cNvPr>
          <p:cNvSpPr txBox="1"/>
          <p:nvPr/>
        </p:nvSpPr>
        <p:spPr>
          <a:xfrm>
            <a:off x="7674421" y="2621959"/>
            <a:ext cx="1344747" cy="900015"/>
          </a:xfrm>
          <a:prstGeom prst="rect">
            <a:avLst/>
          </a:prstGeom>
          <a:noFill/>
        </p:spPr>
        <p:txBody>
          <a:bodyPr wrap="square" lIns="0" tIns="0" rIns="0" bIns="0" rtlCol="0">
            <a:noAutofit/>
          </a:bodyPr>
          <a:lstStyle/>
          <a:p>
            <a:r>
              <a:rPr lang="en-SG" sz="1100" b="1" dirty="0">
                <a:latin typeface="Colour Sans" panose="02000503030000020004" pitchFamily="2" charset="0"/>
              </a:rPr>
              <a:t>Other benefits:</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Sun Reflect of up to 12 degree Celsius</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Multi-surface adhesion on surfaces like brickbat </a:t>
            </a:r>
            <a:r>
              <a:rPr lang="en-US" sz="1100" dirty="0" err="1">
                <a:latin typeface="Calibri" panose="020F0502020204030204" pitchFamily="34" charset="0"/>
                <a:cs typeface="Calibri" panose="020F0502020204030204" pitchFamily="34" charset="0"/>
              </a:rPr>
              <a:t>coba</a:t>
            </a:r>
            <a:r>
              <a:rPr lang="en-US" sz="1100" dirty="0">
                <a:latin typeface="Calibri" panose="020F0502020204030204" pitchFamily="34" charset="0"/>
                <a:cs typeface="Calibri" panose="020F0502020204030204" pitchFamily="34" charset="0"/>
              </a:rPr>
              <a:t>, plaster, </a:t>
            </a:r>
            <a:r>
              <a:rPr lang="en-US" sz="1100" dirty="0" err="1">
                <a:latin typeface="Calibri" panose="020F0502020204030204" pitchFamily="34" charset="0"/>
                <a:cs typeface="Calibri" panose="020F0502020204030204" pitchFamily="34" charset="0"/>
              </a:rPr>
              <a:t>china</a:t>
            </a:r>
            <a:r>
              <a:rPr lang="en-US" sz="1100" dirty="0">
                <a:latin typeface="Calibri" panose="020F0502020204030204" pitchFamily="34" charset="0"/>
                <a:cs typeface="Calibri" panose="020F0502020204030204" pitchFamily="34" charset="0"/>
              </a:rPr>
              <a:t> chips and mosaic tiles	</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Applicable on Podiums and for Terrace gardening</a:t>
            </a:r>
          </a:p>
        </p:txBody>
      </p:sp>
      <p:pic>
        <p:nvPicPr>
          <p:cNvPr id="8" name="Picture 7" descr="Icon&#10;&#10;Description automatically generated">
            <a:extLst>
              <a:ext uri="{FF2B5EF4-FFF2-40B4-BE49-F238E27FC236}">
                <a16:creationId xmlns:a16="http://schemas.microsoft.com/office/drawing/2014/main" id="{99160969-E03A-14A5-47DC-DFD410256877}"/>
              </a:ext>
            </a:extLst>
          </p:cNvPr>
          <p:cNvPicPr>
            <a:picLocks noChangeAspect="1"/>
          </p:cNvPicPr>
          <p:nvPr/>
        </p:nvPicPr>
        <p:blipFill>
          <a:blip r:embed="rId2"/>
          <a:stretch>
            <a:fillRect/>
          </a:stretch>
        </p:blipFill>
        <p:spPr>
          <a:xfrm>
            <a:off x="4326914" y="2307035"/>
            <a:ext cx="987198" cy="1236054"/>
          </a:xfrm>
          <a:prstGeom prst="rect">
            <a:avLst/>
          </a:prstGeom>
        </p:spPr>
      </p:pic>
      <p:sp>
        <p:nvSpPr>
          <p:cNvPr id="10" name="Title 7">
            <a:extLst>
              <a:ext uri="{FF2B5EF4-FFF2-40B4-BE49-F238E27FC236}">
                <a16:creationId xmlns:a16="http://schemas.microsoft.com/office/drawing/2014/main" id="{C5D0DF65-E24B-D984-70FE-81D61BD4EE94}"/>
              </a:ext>
            </a:extLst>
          </p:cNvPr>
          <p:cNvSpPr txBox="1">
            <a:spLocks/>
          </p:cNvSpPr>
          <p:nvPr/>
        </p:nvSpPr>
        <p:spPr>
          <a:xfrm>
            <a:off x="-66980" y="29810"/>
            <a:ext cx="9855557" cy="372542"/>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000" dirty="0"/>
              <a:t>Liquid Applied Horizontal - Dulux </a:t>
            </a:r>
            <a:r>
              <a:rPr lang="en-US" sz="2000" dirty="0" err="1"/>
              <a:t>Aquatech</a:t>
            </a:r>
            <a:r>
              <a:rPr lang="en-US" sz="2000" dirty="0"/>
              <a:t> PU Coat</a:t>
            </a:r>
            <a:endParaRPr lang="en-SG" sz="2000" dirty="0">
              <a:latin typeface="Colour Sans" panose="02000503030000020004" pitchFamily="2" charset="0"/>
            </a:endParaRPr>
          </a:p>
        </p:txBody>
      </p:sp>
      <p:pic>
        <p:nvPicPr>
          <p:cNvPr id="15" name="Picture 2" descr="Procedure for Terrace Waterproofing | Roof Waterproofing">
            <a:extLst>
              <a:ext uri="{FF2B5EF4-FFF2-40B4-BE49-F238E27FC236}">
                <a16:creationId xmlns:a16="http://schemas.microsoft.com/office/drawing/2014/main" id="{09AB2229-D400-CAC1-380B-348BB55C224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8543" b="55523"/>
          <a:stretch/>
        </p:blipFill>
        <p:spPr bwMode="auto">
          <a:xfrm>
            <a:off x="4400770" y="555892"/>
            <a:ext cx="3211721" cy="1679137"/>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1F49E9F4-AE1E-EFFA-9870-6AE9B98F7B7C}"/>
              </a:ext>
            </a:extLst>
          </p:cNvPr>
          <p:cNvSpPr txBox="1"/>
          <p:nvPr/>
        </p:nvSpPr>
        <p:spPr>
          <a:xfrm>
            <a:off x="6092220" y="2825656"/>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Sun Reflect </a:t>
            </a:r>
            <a:r>
              <a:rPr lang="en-SG" sz="700" dirty="0" err="1">
                <a:latin typeface="Colour Sans" panose="02000503030000020004" pitchFamily="2" charset="0"/>
              </a:rPr>
              <a:t>upto</a:t>
            </a:r>
            <a:r>
              <a:rPr lang="en-SG" sz="700" dirty="0">
                <a:latin typeface="Colour Sans" panose="02000503030000020004" pitchFamily="2" charset="0"/>
              </a:rPr>
              <a:t> 12 Degrees</a:t>
            </a:r>
          </a:p>
        </p:txBody>
      </p:sp>
      <p:sp>
        <p:nvSpPr>
          <p:cNvPr id="23" name="TextBox 22">
            <a:extLst>
              <a:ext uri="{FF2B5EF4-FFF2-40B4-BE49-F238E27FC236}">
                <a16:creationId xmlns:a16="http://schemas.microsoft.com/office/drawing/2014/main" id="{CA00F2E2-3907-7AA9-BE7B-A29F257776E7}"/>
              </a:ext>
            </a:extLst>
          </p:cNvPr>
          <p:cNvSpPr txBox="1"/>
          <p:nvPr/>
        </p:nvSpPr>
        <p:spPr>
          <a:xfrm>
            <a:off x="6898147" y="2827427"/>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4mm </a:t>
            </a:r>
            <a:r>
              <a:rPr lang="en-SG" sz="700" dirty="0" err="1">
                <a:latin typeface="Colour Sans" panose="02000503030000020004" pitchFamily="2" charset="0"/>
              </a:rPr>
              <a:t>Crackbridging</a:t>
            </a:r>
            <a:endParaRPr lang="en-SG" sz="700" dirty="0">
              <a:latin typeface="Colour Sans" panose="02000503030000020004" pitchFamily="2" charset="0"/>
            </a:endParaRPr>
          </a:p>
        </p:txBody>
      </p:sp>
      <p:sp>
        <p:nvSpPr>
          <p:cNvPr id="24" name="TextBox 23">
            <a:extLst>
              <a:ext uri="{FF2B5EF4-FFF2-40B4-BE49-F238E27FC236}">
                <a16:creationId xmlns:a16="http://schemas.microsoft.com/office/drawing/2014/main" id="{A29227FF-9C00-E65A-2F59-23BA82D85461}"/>
              </a:ext>
            </a:extLst>
          </p:cNvPr>
          <p:cNvSpPr txBox="1"/>
          <p:nvPr/>
        </p:nvSpPr>
        <p:spPr>
          <a:xfrm>
            <a:off x="7316154" y="4229100"/>
            <a:ext cx="914400" cy="914400"/>
          </a:xfrm>
          <a:prstGeom prst="rect">
            <a:avLst/>
          </a:prstGeom>
          <a:noFill/>
        </p:spPr>
        <p:txBody>
          <a:bodyPr wrap="none" lIns="0" tIns="0" rIns="0" bIns="0" rtlCol="0">
            <a:noAutofit/>
          </a:bodyPr>
          <a:lstStyle/>
          <a:p>
            <a:endParaRPr lang="en-US" sz="900" b="0" i="1" dirty="0"/>
          </a:p>
        </p:txBody>
      </p:sp>
      <p:sp>
        <p:nvSpPr>
          <p:cNvPr id="25" name="TextBox 24">
            <a:extLst>
              <a:ext uri="{FF2B5EF4-FFF2-40B4-BE49-F238E27FC236}">
                <a16:creationId xmlns:a16="http://schemas.microsoft.com/office/drawing/2014/main" id="{242EC244-61FE-87E2-21D8-5A8A0BD523C1}"/>
              </a:ext>
            </a:extLst>
          </p:cNvPr>
          <p:cNvSpPr txBox="1"/>
          <p:nvPr/>
        </p:nvSpPr>
        <p:spPr>
          <a:xfrm>
            <a:off x="5297439" y="2825656"/>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Superior WTP for Wall &amp; Roof</a:t>
            </a:r>
          </a:p>
        </p:txBody>
      </p:sp>
      <p:pic>
        <p:nvPicPr>
          <p:cNvPr id="4" name="Picture 3" descr="A blue and white circle with text and numbers&#10;&#10;Description automatically generated">
            <a:extLst>
              <a:ext uri="{FF2B5EF4-FFF2-40B4-BE49-F238E27FC236}">
                <a16:creationId xmlns:a16="http://schemas.microsoft.com/office/drawing/2014/main" id="{397FE4DA-F0A7-5B14-3CBA-525BDD9D7864}"/>
              </a:ext>
            </a:extLst>
          </p:cNvPr>
          <p:cNvPicPr>
            <a:picLocks noChangeAspect="1"/>
          </p:cNvPicPr>
          <p:nvPr/>
        </p:nvPicPr>
        <p:blipFill>
          <a:blip r:embed="rId4"/>
          <a:stretch>
            <a:fillRect/>
          </a:stretch>
        </p:blipFill>
        <p:spPr>
          <a:xfrm>
            <a:off x="5295554" y="3189898"/>
            <a:ext cx="539807" cy="540688"/>
          </a:xfrm>
          <a:prstGeom prst="rect">
            <a:avLst/>
          </a:prstGeom>
        </p:spPr>
      </p:pic>
      <p:pic>
        <p:nvPicPr>
          <p:cNvPr id="7" name="Picture 6" descr="A blue and silver can of paint&#10;&#10;Description automatically generated">
            <a:extLst>
              <a:ext uri="{FF2B5EF4-FFF2-40B4-BE49-F238E27FC236}">
                <a16:creationId xmlns:a16="http://schemas.microsoft.com/office/drawing/2014/main" id="{2EBE7D56-4E5F-EC77-E71C-E071B80D624C}"/>
              </a:ext>
            </a:extLst>
          </p:cNvPr>
          <p:cNvPicPr>
            <a:picLocks noChangeAspect="1"/>
          </p:cNvPicPr>
          <p:nvPr/>
        </p:nvPicPr>
        <p:blipFill>
          <a:blip r:embed="rId5"/>
          <a:stretch>
            <a:fillRect/>
          </a:stretch>
        </p:blipFill>
        <p:spPr>
          <a:xfrm>
            <a:off x="7590200" y="747155"/>
            <a:ext cx="1513188" cy="1322164"/>
          </a:xfrm>
          <a:prstGeom prst="rect">
            <a:avLst/>
          </a:prstGeom>
        </p:spPr>
      </p:pic>
      <p:pic>
        <p:nvPicPr>
          <p:cNvPr id="14" name="Picture 13" descr="A black and white logo with a house and rain drops on it&#10;&#10;Description automatically generated">
            <a:extLst>
              <a:ext uri="{FF2B5EF4-FFF2-40B4-BE49-F238E27FC236}">
                <a16:creationId xmlns:a16="http://schemas.microsoft.com/office/drawing/2014/main" id="{D2DACC71-3D4B-9F7B-44A1-E9171BB823DB}"/>
              </a:ext>
            </a:extLst>
          </p:cNvPr>
          <p:cNvPicPr>
            <a:picLocks noChangeAspect="1"/>
          </p:cNvPicPr>
          <p:nvPr/>
        </p:nvPicPr>
        <p:blipFill>
          <a:blip r:embed="rId6"/>
          <a:stretch>
            <a:fillRect/>
          </a:stretch>
        </p:blipFill>
        <p:spPr>
          <a:xfrm>
            <a:off x="5297439" y="2356755"/>
            <a:ext cx="408246" cy="408246"/>
          </a:xfrm>
          <a:prstGeom prst="rect">
            <a:avLst/>
          </a:prstGeom>
        </p:spPr>
      </p:pic>
      <p:pic>
        <p:nvPicPr>
          <p:cNvPr id="26" name="Picture 25" descr="A sun and arrows in a circle&#10;&#10;Description automatically generated">
            <a:extLst>
              <a:ext uri="{FF2B5EF4-FFF2-40B4-BE49-F238E27FC236}">
                <a16:creationId xmlns:a16="http://schemas.microsoft.com/office/drawing/2014/main" id="{4AB9C985-6536-AE2D-F8E2-E3F72725DFCC}"/>
              </a:ext>
            </a:extLst>
          </p:cNvPr>
          <p:cNvPicPr>
            <a:picLocks noChangeAspect="1"/>
          </p:cNvPicPr>
          <p:nvPr/>
        </p:nvPicPr>
        <p:blipFill>
          <a:blip r:embed="rId7"/>
          <a:stretch>
            <a:fillRect/>
          </a:stretch>
        </p:blipFill>
        <p:spPr>
          <a:xfrm>
            <a:off x="6166394" y="2339310"/>
            <a:ext cx="408246" cy="408246"/>
          </a:xfrm>
          <a:prstGeom prst="rect">
            <a:avLst/>
          </a:prstGeom>
        </p:spPr>
      </p:pic>
      <p:pic>
        <p:nvPicPr>
          <p:cNvPr id="28" name="Picture 27" descr="A black and gold logo&#10;&#10;Description automatically generated">
            <a:extLst>
              <a:ext uri="{FF2B5EF4-FFF2-40B4-BE49-F238E27FC236}">
                <a16:creationId xmlns:a16="http://schemas.microsoft.com/office/drawing/2014/main" id="{4BE8C8BE-CC4D-DD3D-098C-84BD8B60314F}"/>
              </a:ext>
            </a:extLst>
          </p:cNvPr>
          <p:cNvPicPr>
            <a:picLocks noChangeAspect="1"/>
          </p:cNvPicPr>
          <p:nvPr/>
        </p:nvPicPr>
        <p:blipFill>
          <a:blip r:embed="rId8"/>
          <a:stretch>
            <a:fillRect/>
          </a:stretch>
        </p:blipFill>
        <p:spPr>
          <a:xfrm>
            <a:off x="7038027" y="2353028"/>
            <a:ext cx="410857" cy="410857"/>
          </a:xfrm>
          <a:prstGeom prst="rect">
            <a:avLst/>
          </a:prstGeom>
        </p:spPr>
      </p:pic>
      <p:sp>
        <p:nvSpPr>
          <p:cNvPr id="29" name="TextBox 28">
            <a:extLst>
              <a:ext uri="{FF2B5EF4-FFF2-40B4-BE49-F238E27FC236}">
                <a16:creationId xmlns:a16="http://schemas.microsoft.com/office/drawing/2014/main" id="{5E789568-B4C0-DF90-B4E1-A9B7FDD055DA}"/>
              </a:ext>
            </a:extLst>
          </p:cNvPr>
          <p:cNvSpPr txBox="1"/>
          <p:nvPr/>
        </p:nvSpPr>
        <p:spPr>
          <a:xfrm>
            <a:off x="5920652" y="3359155"/>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15 Years Warranty</a:t>
            </a:r>
          </a:p>
        </p:txBody>
      </p:sp>
    </p:spTree>
    <p:extLst>
      <p:ext uri="{BB962C8B-B14F-4D97-AF65-F5344CB8AC3E}">
        <p14:creationId xmlns:p14="http://schemas.microsoft.com/office/powerpoint/2010/main" val="39019957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0FE9E8B9-9166-41CB-A93E-5142C1B33C65}"/>
              </a:ext>
            </a:extLst>
          </p:cNvPr>
          <p:cNvSpPr/>
          <p:nvPr/>
        </p:nvSpPr>
        <p:spPr>
          <a:xfrm>
            <a:off x="0" y="4186410"/>
            <a:ext cx="9144000" cy="9570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id-ID" dirty="0" err="1"/>
          </a:p>
        </p:txBody>
      </p:sp>
      <p:sp>
        <p:nvSpPr>
          <p:cNvPr id="15" name="TextBox 14">
            <a:extLst>
              <a:ext uri="{FF2B5EF4-FFF2-40B4-BE49-F238E27FC236}">
                <a16:creationId xmlns:a16="http://schemas.microsoft.com/office/drawing/2014/main" id="{35B8EBFE-6A0A-4E91-A5AE-F0A5A0A94A86}"/>
              </a:ext>
            </a:extLst>
          </p:cNvPr>
          <p:cNvSpPr txBox="1"/>
          <p:nvPr/>
        </p:nvSpPr>
        <p:spPr>
          <a:xfrm>
            <a:off x="319540" y="875484"/>
            <a:ext cx="1293057" cy="344867"/>
          </a:xfrm>
          <a:prstGeom prst="rect">
            <a:avLst/>
          </a:prstGeom>
          <a:noFill/>
        </p:spPr>
        <p:txBody>
          <a:bodyPr wrap="square" lIns="0" tIns="0" rIns="0" bIns="0" rtlCol="0" anchor="t">
            <a:noAutofit/>
          </a:bodyPr>
          <a:lstStyle/>
          <a:p>
            <a:pPr marL="285750" indent="-285750">
              <a:buFont typeface="Wingdings" panose="05000000000000000000" pitchFamily="2" charset="2"/>
              <a:buChar char="v"/>
            </a:pPr>
            <a:r>
              <a:rPr lang="en-US" sz="1200" dirty="0">
                <a:solidFill>
                  <a:schemeClr val="bg1"/>
                </a:solidFill>
              </a:rPr>
              <a:t>P</a:t>
            </a:r>
            <a:r>
              <a:rPr lang="id-ID" sz="1200" dirty="0">
                <a:solidFill>
                  <a:schemeClr val="bg1"/>
                </a:solidFill>
              </a:rPr>
              <a:t>roblems</a:t>
            </a:r>
            <a:endParaRPr lang="id-ID" sz="1200" b="0" dirty="0">
              <a:solidFill>
                <a:schemeClr val="bg1"/>
              </a:solidFill>
              <a:cs typeface="Arial"/>
            </a:endParaRPr>
          </a:p>
        </p:txBody>
      </p:sp>
      <p:sp>
        <p:nvSpPr>
          <p:cNvPr id="25" name="TextBox 24">
            <a:extLst>
              <a:ext uri="{FF2B5EF4-FFF2-40B4-BE49-F238E27FC236}">
                <a16:creationId xmlns:a16="http://schemas.microsoft.com/office/drawing/2014/main" id="{15129A85-8D3A-45E4-9DFF-626CF28B8D6A}"/>
              </a:ext>
            </a:extLst>
          </p:cNvPr>
          <p:cNvSpPr txBox="1"/>
          <p:nvPr/>
        </p:nvSpPr>
        <p:spPr>
          <a:xfrm>
            <a:off x="359472" y="2145993"/>
            <a:ext cx="1293057" cy="344867"/>
          </a:xfrm>
          <a:prstGeom prst="rect">
            <a:avLst/>
          </a:prstGeom>
          <a:noFill/>
        </p:spPr>
        <p:txBody>
          <a:bodyPr wrap="square" lIns="0" tIns="0" rIns="0" bIns="0" rtlCol="0" anchor="t">
            <a:noAutofit/>
          </a:bodyPr>
          <a:lstStyle>
            <a:defPPr>
              <a:defRPr lang="nl-NL"/>
            </a:defPPr>
            <a:lvl1pPr marL="285750" indent="-285750">
              <a:buFont typeface="Wingdings" panose="05000000000000000000" pitchFamily="2" charset="2"/>
              <a:buChar char="v"/>
              <a:defRPr sz="1600"/>
            </a:lvl1pPr>
          </a:lstStyle>
          <a:p>
            <a:r>
              <a:rPr lang="en-US" sz="1200" dirty="0">
                <a:solidFill>
                  <a:schemeClr val="bg1"/>
                </a:solidFill>
              </a:rPr>
              <a:t>S</a:t>
            </a:r>
            <a:r>
              <a:rPr lang="id-ID" sz="1200" dirty="0">
                <a:solidFill>
                  <a:schemeClr val="bg1"/>
                </a:solidFill>
              </a:rPr>
              <a:t>olution</a:t>
            </a:r>
          </a:p>
        </p:txBody>
      </p:sp>
      <p:sp>
        <p:nvSpPr>
          <p:cNvPr id="20" name="TextBox 19">
            <a:extLst>
              <a:ext uri="{FF2B5EF4-FFF2-40B4-BE49-F238E27FC236}">
                <a16:creationId xmlns:a16="http://schemas.microsoft.com/office/drawing/2014/main" id="{5FF7CA16-FD6D-4F13-9106-DEE88E5E669F}"/>
              </a:ext>
            </a:extLst>
          </p:cNvPr>
          <p:cNvSpPr txBox="1"/>
          <p:nvPr/>
        </p:nvSpPr>
        <p:spPr>
          <a:xfrm>
            <a:off x="359472" y="3269007"/>
            <a:ext cx="1293057" cy="344867"/>
          </a:xfrm>
          <a:prstGeom prst="rect">
            <a:avLst/>
          </a:prstGeom>
          <a:noFill/>
        </p:spPr>
        <p:txBody>
          <a:bodyPr wrap="square" lIns="0" tIns="0" rIns="0" bIns="0" rtlCol="0" anchor="t">
            <a:noAutofit/>
          </a:bodyPr>
          <a:lstStyle>
            <a:defPPr>
              <a:defRPr lang="nl-NL"/>
            </a:defPPr>
            <a:lvl1pPr marL="285750" indent="-285750">
              <a:buFont typeface="Wingdings" panose="05000000000000000000" pitchFamily="2" charset="2"/>
              <a:buChar char="v"/>
              <a:defRPr sz="1600"/>
            </a:lvl1pPr>
          </a:lstStyle>
          <a:p>
            <a:r>
              <a:rPr lang="en-US" sz="1200" dirty="0">
                <a:solidFill>
                  <a:schemeClr val="bg1"/>
                </a:solidFill>
              </a:rPr>
              <a:t>B</a:t>
            </a:r>
            <a:r>
              <a:rPr lang="id-ID" sz="1200" dirty="0">
                <a:solidFill>
                  <a:schemeClr val="bg1"/>
                </a:solidFill>
              </a:rPr>
              <a:t>enefit</a:t>
            </a:r>
          </a:p>
        </p:txBody>
      </p:sp>
      <p:sp>
        <p:nvSpPr>
          <p:cNvPr id="21" name="TextBox 20">
            <a:extLst>
              <a:ext uri="{FF2B5EF4-FFF2-40B4-BE49-F238E27FC236}">
                <a16:creationId xmlns:a16="http://schemas.microsoft.com/office/drawing/2014/main" id="{AF2C3DDA-4E81-477E-AC72-0A80BD1729E1}"/>
              </a:ext>
            </a:extLst>
          </p:cNvPr>
          <p:cNvSpPr txBox="1"/>
          <p:nvPr/>
        </p:nvSpPr>
        <p:spPr>
          <a:xfrm>
            <a:off x="645912" y="3472572"/>
            <a:ext cx="5699804" cy="192734"/>
          </a:xfrm>
          <a:prstGeom prst="rect">
            <a:avLst/>
          </a:prstGeom>
          <a:noFill/>
        </p:spPr>
        <p:txBody>
          <a:bodyPr wrap="square" lIns="0" tIns="0" rIns="0" bIns="0" rtlCol="0" anchor="t">
            <a:noAutofit/>
          </a:bodyPr>
          <a:lstStyle/>
          <a:p>
            <a:r>
              <a:rPr lang="en-US" sz="900" dirty="0">
                <a:solidFill>
                  <a:schemeClr val="bg1"/>
                </a:solidFill>
              </a:rPr>
              <a:t>Keep walls and flooring in wet areas a good as new.</a:t>
            </a:r>
          </a:p>
        </p:txBody>
      </p:sp>
      <p:pic>
        <p:nvPicPr>
          <p:cNvPr id="4" name="Picture 3">
            <a:extLst>
              <a:ext uri="{FF2B5EF4-FFF2-40B4-BE49-F238E27FC236}">
                <a16:creationId xmlns:a16="http://schemas.microsoft.com/office/drawing/2014/main" id="{F658F735-6C42-4705-8C97-8E25201293F9}"/>
              </a:ext>
            </a:extLst>
          </p:cNvPr>
          <p:cNvPicPr>
            <a:picLocks noChangeAspect="1"/>
          </p:cNvPicPr>
          <p:nvPr/>
        </p:nvPicPr>
        <p:blipFill rotWithShape="1">
          <a:blip r:embed="rId3"/>
          <a:srcRect l="56149" t="32478" r="9919" b="25105"/>
          <a:stretch/>
        </p:blipFill>
        <p:spPr>
          <a:xfrm>
            <a:off x="5494653" y="496175"/>
            <a:ext cx="1942940" cy="1365573"/>
          </a:xfrm>
          <a:prstGeom prst="rect">
            <a:avLst/>
          </a:prstGeom>
        </p:spPr>
      </p:pic>
      <p:sp>
        <p:nvSpPr>
          <p:cNvPr id="23" name="TextBox 22">
            <a:extLst>
              <a:ext uri="{FF2B5EF4-FFF2-40B4-BE49-F238E27FC236}">
                <a16:creationId xmlns:a16="http://schemas.microsoft.com/office/drawing/2014/main" id="{26B6C58A-DE70-4EAE-8654-B8DAD0AAD988}"/>
              </a:ext>
            </a:extLst>
          </p:cNvPr>
          <p:cNvSpPr txBox="1"/>
          <p:nvPr/>
        </p:nvSpPr>
        <p:spPr>
          <a:xfrm>
            <a:off x="7663851" y="1922002"/>
            <a:ext cx="1288013" cy="358558"/>
          </a:xfrm>
          <a:prstGeom prst="rect">
            <a:avLst/>
          </a:prstGeom>
          <a:noFill/>
        </p:spPr>
        <p:txBody>
          <a:bodyPr wrap="square" lIns="0" tIns="0" rIns="0" bIns="0" rtlCol="0">
            <a:noAutofit/>
          </a:bodyPr>
          <a:lstStyle/>
          <a:p>
            <a:pPr algn="ctr"/>
            <a:r>
              <a:rPr lang="en-SG" sz="1000" b="1" dirty="0">
                <a:latin typeface="Colour Sans" panose="02000503030000020004" pitchFamily="2" charset="0"/>
              </a:rPr>
              <a:t>Available in</a:t>
            </a:r>
          </a:p>
          <a:p>
            <a:pPr algn="ctr"/>
            <a:r>
              <a:rPr lang="en-US" sz="1000" dirty="0">
                <a:latin typeface="Colour Sans" panose="02000503030000020004" pitchFamily="2" charset="0"/>
              </a:rPr>
              <a:t>3KG, 15KG</a:t>
            </a:r>
            <a:endParaRPr lang="en-SG" sz="1000" dirty="0">
              <a:latin typeface="Colour Sans" panose="02000503030000020004" pitchFamily="2" charset="0"/>
            </a:endParaRPr>
          </a:p>
        </p:txBody>
      </p:sp>
      <p:sp>
        <p:nvSpPr>
          <p:cNvPr id="27" name="TextBox 26">
            <a:extLst>
              <a:ext uri="{FF2B5EF4-FFF2-40B4-BE49-F238E27FC236}">
                <a16:creationId xmlns:a16="http://schemas.microsoft.com/office/drawing/2014/main" id="{01ECFCD0-FF37-4633-B624-8B6BCB4B9C4E}"/>
              </a:ext>
            </a:extLst>
          </p:cNvPr>
          <p:cNvSpPr txBox="1"/>
          <p:nvPr/>
        </p:nvSpPr>
        <p:spPr>
          <a:xfrm>
            <a:off x="167364" y="3917223"/>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graphicFrame>
        <p:nvGraphicFramePr>
          <p:cNvPr id="30" name="Table 29">
            <a:extLst>
              <a:ext uri="{FF2B5EF4-FFF2-40B4-BE49-F238E27FC236}">
                <a16:creationId xmlns:a16="http://schemas.microsoft.com/office/drawing/2014/main" id="{3A756372-B2AD-4FD4-B1B0-5EE53F5BF707}"/>
              </a:ext>
            </a:extLst>
          </p:cNvPr>
          <p:cNvGraphicFramePr>
            <a:graphicFrameLocks noGrp="1"/>
          </p:cNvGraphicFramePr>
          <p:nvPr/>
        </p:nvGraphicFramePr>
        <p:xfrm>
          <a:off x="242737" y="4175907"/>
          <a:ext cx="3272865" cy="810207"/>
        </p:xfrm>
        <a:graphic>
          <a:graphicData uri="http://schemas.openxmlformats.org/drawingml/2006/table">
            <a:tbl>
              <a:tblPr firstRow="1" bandRow="1">
                <a:tableStyleId>{2D5ABB26-0587-4C30-8999-92F81FD0307C}</a:tableStyleId>
              </a:tblPr>
              <a:tblGrid>
                <a:gridCol w="1037853">
                  <a:extLst>
                    <a:ext uri="{9D8B030D-6E8A-4147-A177-3AD203B41FA5}">
                      <a16:colId xmlns:a16="http://schemas.microsoft.com/office/drawing/2014/main" val="2714193207"/>
                    </a:ext>
                  </a:extLst>
                </a:gridCol>
                <a:gridCol w="2235012">
                  <a:extLst>
                    <a:ext uri="{9D8B030D-6E8A-4147-A177-3AD203B41FA5}">
                      <a16:colId xmlns:a16="http://schemas.microsoft.com/office/drawing/2014/main" val="402161752"/>
                    </a:ext>
                  </a:extLst>
                </a:gridCol>
              </a:tblGrid>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Applica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Interior &amp; Exterior Durabl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0.92 – 1.39 m2/Kg</a:t>
                      </a:r>
                    </a:p>
                    <a:p>
                      <a:pPr marL="0" marR="0" lvl="0" indent="85725" algn="l" defTabSz="914400" rtl="0" eaLnBrk="1" fontAlgn="b" latinLnBrk="0" hangingPunct="1">
                        <a:lnSpc>
                          <a:spcPct val="100000"/>
                        </a:lnSpc>
                        <a:spcBef>
                          <a:spcPts val="0"/>
                        </a:spcBef>
                        <a:spcAft>
                          <a:spcPts val="0"/>
                        </a:spcAft>
                        <a:buClrTx/>
                        <a:buSzTx/>
                        <a:buFontTx/>
                        <a:buNone/>
                        <a:tabLst/>
                        <a:defRPr/>
                      </a:pPr>
                      <a:r>
                        <a:rPr lang="en-US" sz="900" kern="1200" noProof="0" dirty="0">
                          <a:solidFill>
                            <a:schemeClr val="tx1"/>
                          </a:solidFill>
                          <a:latin typeface="Colour Sans" panose="02000503030000020004"/>
                          <a:ea typeface="+mn-ea"/>
                          <a:cs typeface="+mn-cs"/>
                        </a:rPr>
                        <a:t>Min. 2 coats (recommend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176614">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Finis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NA</a:t>
                      </a:r>
                      <a:endPar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182659">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id-ID" sz="900" b="0" i="0" u="none" strike="noStrike" kern="1200" cap="none" spc="0" normalizeH="0" baseline="0" noProof="0" dirty="0">
                          <a:ln>
                            <a:noFill/>
                          </a:ln>
                          <a:solidFill>
                            <a:srgbClr val="000000"/>
                          </a:solidFill>
                          <a:effectLst/>
                          <a:uLnTx/>
                          <a:uFillTx/>
                          <a:latin typeface="Colour Sans" panose="02000503030000020004"/>
                          <a:ea typeface="+mn-ea"/>
                          <a:cs typeface="+mn-cs"/>
                        </a:rPr>
                        <a:t>Cementitious - Gr</a:t>
                      </a: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e</a:t>
                      </a:r>
                      <a:r>
                        <a:rPr kumimoji="0" lang="id-ID" sz="900" b="0" i="0" u="none" strike="noStrike" kern="1200" cap="none" spc="0" normalizeH="0" baseline="0" noProof="0" dirty="0">
                          <a:ln>
                            <a:noFill/>
                          </a:ln>
                          <a:solidFill>
                            <a:srgbClr val="000000"/>
                          </a:solidFill>
                          <a:effectLst/>
                          <a:uLnTx/>
                          <a:uFillTx/>
                          <a:latin typeface="Colour Sans" panose="02000503030000020004"/>
                          <a:ea typeface="+mn-ea"/>
                          <a:cs typeface="+mn-cs"/>
                        </a:rPr>
                        <a:t>y</a:t>
                      </a:r>
                      <a:endPar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31" name="Table 30">
            <a:extLst>
              <a:ext uri="{FF2B5EF4-FFF2-40B4-BE49-F238E27FC236}">
                <a16:creationId xmlns:a16="http://schemas.microsoft.com/office/drawing/2014/main" id="{21F3BBCC-555E-44BE-8B32-70E4760B4940}"/>
              </a:ext>
            </a:extLst>
          </p:cNvPr>
          <p:cNvGraphicFramePr>
            <a:graphicFrameLocks noGrp="1"/>
          </p:cNvGraphicFramePr>
          <p:nvPr/>
        </p:nvGraphicFramePr>
        <p:xfrm>
          <a:off x="3628158" y="4182564"/>
          <a:ext cx="3614969" cy="822960"/>
        </p:xfrm>
        <a:graphic>
          <a:graphicData uri="http://schemas.openxmlformats.org/drawingml/2006/table">
            <a:tbl>
              <a:tblPr firstRow="1" bandRow="1">
                <a:tableStyleId>{2D5ABB26-0587-4C30-8999-92F81FD0307C}</a:tableStyleId>
              </a:tblPr>
              <a:tblGrid>
                <a:gridCol w="1474631">
                  <a:extLst>
                    <a:ext uri="{9D8B030D-6E8A-4147-A177-3AD203B41FA5}">
                      <a16:colId xmlns:a16="http://schemas.microsoft.com/office/drawing/2014/main" val="3738590716"/>
                    </a:ext>
                  </a:extLst>
                </a:gridCol>
                <a:gridCol w="2140338">
                  <a:extLst>
                    <a:ext uri="{9D8B030D-6E8A-4147-A177-3AD203B41FA5}">
                      <a16:colId xmlns:a16="http://schemas.microsoft.com/office/drawing/2014/main" val="3750538898"/>
                    </a:ext>
                  </a:extLst>
                </a:gridCol>
              </a:tblGrid>
              <a:tr h="120773">
                <a:tc>
                  <a:txBody>
                    <a:bodyPr/>
                    <a:lstStyle/>
                    <a:p>
                      <a:pPr marL="0" indent="85725" algn="l" fontAlgn="b"/>
                      <a:r>
                        <a:rPr lang="en-SG" sz="900" b="0" i="0" u="none" strike="noStrike">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proofing Substrat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Vertical Walls &amp; Horizontal</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326920">
                <a:tc>
                  <a:txBody>
                    <a:bodyPr/>
                    <a:lstStyle/>
                    <a:p>
                      <a:pPr marL="0" indent="85725" algn="l" fontAlgn="b"/>
                      <a:r>
                        <a:rPr lang="en-US" sz="900" b="0" u="none" strike="noStrike" dirty="0">
                          <a:effectLst/>
                          <a:latin typeface="Colour Sans" panose="02000503030000020004" pitchFamily="2" charset="0"/>
                          <a:ea typeface="Open Sans" panose="020B0606030504020204" pitchFamily="34" charset="0"/>
                          <a:cs typeface="Open Sans" panose="020B0606030504020204" pitchFamily="34" charset="0"/>
                        </a:rPr>
                        <a:t>Performanc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alibri" panose="020F0502020204030204" pitchFamily="34" charset="0"/>
                          <a:cs typeface="Calibri" panose="020F0502020204030204" pitchFamily="34" charset="0"/>
                        </a:rPr>
                        <a:t>The special grade binder used provides good flexibility and excellent resistance to ingress of water. </a:t>
                      </a:r>
                      <a:endPar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120773">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icroorganism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dirty="0">
                          <a:latin typeface="Calibri" panose="020F0502020204030204" pitchFamily="34" charset="0"/>
                          <a:cs typeface="Calibri" panose="020F0502020204030204" pitchFamily="34" charset="0"/>
                        </a:rPr>
                        <a:t>  </a:t>
                      </a:r>
                      <a:r>
                        <a:rPr lang="id-ID" sz="900" dirty="0">
                          <a:latin typeface="Calibri" panose="020F0502020204030204" pitchFamily="34" charset="0"/>
                          <a:cs typeface="Calibri" panose="020F0502020204030204" pitchFamily="34" charset="0"/>
                        </a:rPr>
                        <a:t>  </a:t>
                      </a:r>
                      <a:r>
                        <a:rPr lang="en-US" sz="900" kern="1200" dirty="0">
                          <a:solidFill>
                            <a:schemeClr val="tx1"/>
                          </a:solidFill>
                          <a:latin typeface="Calibri" panose="020F0502020204030204" pitchFamily="34" charset="0"/>
                          <a:ea typeface="+mn-ea"/>
                          <a:cs typeface="Calibri" panose="020F0502020204030204" pitchFamily="34" charset="0"/>
                        </a:rPr>
                        <a:t>Prevents from fungu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120773">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Crack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39" name="TextBox 38">
            <a:extLst>
              <a:ext uri="{FF2B5EF4-FFF2-40B4-BE49-F238E27FC236}">
                <a16:creationId xmlns:a16="http://schemas.microsoft.com/office/drawing/2014/main" id="{C180FEE3-5E3C-4B92-B258-840C561FA7CE}"/>
              </a:ext>
            </a:extLst>
          </p:cNvPr>
          <p:cNvSpPr txBox="1"/>
          <p:nvPr/>
        </p:nvSpPr>
        <p:spPr>
          <a:xfrm>
            <a:off x="7663851" y="4347389"/>
            <a:ext cx="1322004" cy="146548"/>
          </a:xfrm>
          <a:prstGeom prst="rect">
            <a:avLst/>
          </a:prstGeom>
          <a:noFill/>
        </p:spPr>
        <p:txBody>
          <a:bodyPr wrap="square" lIns="0" tIns="0" rIns="0" bIns="0" rtlCol="0" anchor="t">
            <a:noAutofit/>
          </a:bodyPr>
          <a:lstStyle/>
          <a:p>
            <a:endParaRPr lang="en-US" sz="900" b="1" dirty="0">
              <a:solidFill>
                <a:srgbClr val="005192"/>
              </a:solidFill>
            </a:endParaRPr>
          </a:p>
        </p:txBody>
      </p:sp>
      <p:sp>
        <p:nvSpPr>
          <p:cNvPr id="40" name="TextBox 39">
            <a:extLst>
              <a:ext uri="{FF2B5EF4-FFF2-40B4-BE49-F238E27FC236}">
                <a16:creationId xmlns:a16="http://schemas.microsoft.com/office/drawing/2014/main" id="{068E00DB-F5C1-49B9-A3B0-8B9A828D9A3A}"/>
              </a:ext>
            </a:extLst>
          </p:cNvPr>
          <p:cNvSpPr txBox="1"/>
          <p:nvPr/>
        </p:nvSpPr>
        <p:spPr>
          <a:xfrm>
            <a:off x="7663851" y="4643857"/>
            <a:ext cx="1322004" cy="368595"/>
          </a:xfrm>
          <a:prstGeom prst="rect">
            <a:avLst/>
          </a:prstGeom>
          <a:noFill/>
        </p:spPr>
        <p:txBody>
          <a:bodyPr wrap="square" lIns="0" tIns="0" rIns="0" bIns="0" rtlCol="0" anchor="t">
            <a:noAutofit/>
          </a:bodyPr>
          <a:lstStyle/>
          <a:p>
            <a:endParaRPr lang="en-US" sz="900" b="1" dirty="0">
              <a:solidFill>
                <a:srgbClr val="005192"/>
              </a:solidFill>
            </a:endParaRPr>
          </a:p>
        </p:txBody>
      </p:sp>
      <p:graphicFrame>
        <p:nvGraphicFramePr>
          <p:cNvPr id="24" name="Table 5">
            <a:extLst>
              <a:ext uri="{FF2B5EF4-FFF2-40B4-BE49-F238E27FC236}">
                <a16:creationId xmlns:a16="http://schemas.microsoft.com/office/drawing/2014/main" id="{D996990A-6938-4438-A748-83075D9A816E}"/>
              </a:ext>
            </a:extLst>
          </p:cNvPr>
          <p:cNvGraphicFramePr>
            <a:graphicFrameLocks noGrp="1"/>
          </p:cNvGraphicFramePr>
          <p:nvPr/>
        </p:nvGraphicFramePr>
        <p:xfrm>
          <a:off x="34156" y="473544"/>
          <a:ext cx="5399969" cy="3108960"/>
        </p:xfrm>
        <a:graphic>
          <a:graphicData uri="http://schemas.openxmlformats.org/drawingml/2006/table">
            <a:tbl>
              <a:tblPr firstRow="1" bandRow="1">
                <a:tableStyleId>{5940675A-B579-460E-94D1-54222C63F5DA}</a:tableStyleId>
              </a:tblPr>
              <a:tblGrid>
                <a:gridCol w="5399969">
                  <a:extLst>
                    <a:ext uri="{9D8B030D-6E8A-4147-A177-3AD203B41FA5}">
                      <a16:colId xmlns:a16="http://schemas.microsoft.com/office/drawing/2014/main" val="965239065"/>
                    </a:ext>
                  </a:extLst>
                </a:gridCol>
              </a:tblGrid>
              <a:tr h="157809">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724066">
                <a:tc>
                  <a:txBody>
                    <a:bodyPr/>
                    <a:lstStyle/>
                    <a:p>
                      <a:r>
                        <a:rPr lang="en-US" sz="900" dirty="0"/>
                        <a:t>I need a quality waterproofing system for my house to ensure the long life of the building structures as areas such as floors under tiles in bathrooms, kitchens, exterior balconies and swimming pools have water seepage issues due to factors like weather, </a:t>
                      </a:r>
                      <a:r>
                        <a:rPr lang="en-US" sz="900" dirty="0" err="1"/>
                        <a:t>watercapillars</a:t>
                      </a:r>
                      <a:r>
                        <a:rPr lang="en-US" sz="900" dirty="0"/>
                        <a:t>, poor wall surface quality, plumbing.</a:t>
                      </a:r>
                    </a:p>
                    <a:p>
                      <a:pPr marL="171450" indent="-171450">
                        <a:buFont typeface="Wingdings" panose="05000000000000000000" pitchFamily="2" charset="2"/>
                        <a:buChar char="ü"/>
                      </a:pPr>
                      <a:r>
                        <a:rPr lang="en-US" sz="900" dirty="0"/>
                        <a:t>For some reasons cracks can appear and cause water content seeping</a:t>
                      </a:r>
                    </a:p>
                    <a:p>
                      <a:pPr marL="171450" indent="-171450">
                        <a:buFont typeface="Wingdings" panose="05000000000000000000" pitchFamily="2" charset="2"/>
                        <a:buChar char="ü"/>
                      </a:pPr>
                      <a:r>
                        <a:rPr lang="en-US" sz="900" dirty="0"/>
                        <a:t>Rainwater seeps into the paint layer and causes mold / mildew to grow</a:t>
                      </a:r>
                    </a:p>
                    <a:p>
                      <a:pPr marL="171450" indent="-171450">
                        <a:buFont typeface="Wingdings" panose="05000000000000000000" pitchFamily="2" charset="2"/>
                        <a:buChar char="ü"/>
                      </a:pPr>
                      <a:r>
                        <a:rPr lang="en-US" sz="900" dirty="0"/>
                        <a:t>The alkaline salts caused using poor quality bricks and these alkaline salts rise to the surfac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157809">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640520">
                <a:tc>
                  <a:txBody>
                    <a:bodyPr/>
                    <a:lstStyle/>
                    <a:p>
                      <a:r>
                        <a:rPr lang="en-US" sz="900" b="1" dirty="0"/>
                        <a:t>Dulux </a:t>
                      </a:r>
                      <a:r>
                        <a:rPr lang="en-US" sz="900" b="1" dirty="0" err="1"/>
                        <a:t>Aquatech</a:t>
                      </a:r>
                      <a:r>
                        <a:rPr lang="en-US" sz="900" b="1" dirty="0"/>
                        <a:t> </a:t>
                      </a:r>
                      <a:r>
                        <a:rPr lang="en-US" sz="900" b="1" dirty="0" err="1"/>
                        <a:t>Waterblock</a:t>
                      </a:r>
                      <a:r>
                        <a:rPr lang="en-US" sz="900" b="1" dirty="0"/>
                        <a:t> 2K</a:t>
                      </a:r>
                      <a:r>
                        <a:rPr lang="en-US" sz="900" b="0" dirty="0"/>
                        <a:t> is a two-component acrylic cementitious which is specially formulated to provide waterproofing to concrete and similar surfaces. It consists of high grade &amp; best quality Portland cement with selected best grade additives which provides excellent pore sealing and waterproofing property. Dulux </a:t>
                      </a:r>
                      <a:r>
                        <a:rPr lang="en-US" sz="900" b="0" dirty="0" err="1"/>
                        <a:t>Waterblock</a:t>
                      </a:r>
                      <a:r>
                        <a:rPr lang="en-US" sz="900" b="0" dirty="0"/>
                        <a:t> 2K can be used against moisture in moisture-prone areas such as protecting damp interior walls, swimming pools, water tanks as it provides an excellent durable, flexible and impermeable protecting layer.</a:t>
                      </a:r>
                    </a:p>
                    <a:p>
                      <a:r>
                        <a:rPr lang="en-US" sz="900" b="0" i="1" dirty="0"/>
                        <a:t>Equipped with unique </a:t>
                      </a:r>
                      <a:r>
                        <a:rPr lang="en-US" sz="900" b="1" i="1" dirty="0" err="1"/>
                        <a:t>Hydrobreathe</a:t>
                      </a:r>
                      <a:r>
                        <a:rPr lang="en-US" sz="900" b="1" i="1" dirty="0"/>
                        <a:t> technology </a:t>
                      </a:r>
                      <a:r>
                        <a:rPr lang="en-US" sz="900" b="0" i="1" dirty="0"/>
                        <a:t>it prevents swelling, blistering and chalking of pain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157809">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290873">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dirty="0">
                          <a:latin typeface="+mn-lt"/>
                          <a:ea typeface="Open Sans" panose="020B0606030504020204" pitchFamily="34" charset="0"/>
                          <a:cs typeface="Open Sans" panose="020B0606030504020204" pitchFamily="34" charset="0"/>
                        </a:rPr>
                        <a:t>Feel reassured that my house is entirely protected from any seepage &amp; dampness issues even at the most moisture prone locatio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pic>
        <p:nvPicPr>
          <p:cNvPr id="29" name="Picture 28">
            <a:extLst>
              <a:ext uri="{FF2B5EF4-FFF2-40B4-BE49-F238E27FC236}">
                <a16:creationId xmlns:a16="http://schemas.microsoft.com/office/drawing/2014/main" id="{AAFDEC3F-5162-44FE-98E3-7B8010777570}"/>
              </a:ext>
            </a:extLst>
          </p:cNvPr>
          <p:cNvPicPr>
            <a:picLocks noChangeAspect="1"/>
          </p:cNvPicPr>
          <p:nvPr/>
        </p:nvPicPr>
        <p:blipFill rotWithShape="1">
          <a:blip r:embed="rId4"/>
          <a:srcRect l="40807" t="44299" r="51919" b="41703"/>
          <a:stretch/>
        </p:blipFill>
        <p:spPr>
          <a:xfrm>
            <a:off x="5434125" y="2542317"/>
            <a:ext cx="830568" cy="899123"/>
          </a:xfrm>
          <a:prstGeom prst="rect">
            <a:avLst/>
          </a:prstGeom>
        </p:spPr>
      </p:pic>
      <p:sp>
        <p:nvSpPr>
          <p:cNvPr id="2" name="Title 7">
            <a:extLst>
              <a:ext uri="{FF2B5EF4-FFF2-40B4-BE49-F238E27FC236}">
                <a16:creationId xmlns:a16="http://schemas.microsoft.com/office/drawing/2014/main" id="{7EE186F4-9E35-B5D7-69E1-00DC1F3581C9}"/>
              </a:ext>
            </a:extLst>
          </p:cNvPr>
          <p:cNvSpPr txBox="1">
            <a:spLocks/>
          </p:cNvSpPr>
          <p:nvPr/>
        </p:nvSpPr>
        <p:spPr>
          <a:xfrm>
            <a:off x="58292" y="-13745"/>
            <a:ext cx="9085708"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400" dirty="0"/>
              <a:t>Cementitious - Dulux </a:t>
            </a:r>
            <a:r>
              <a:rPr lang="en-US" sz="2400" dirty="0" err="1"/>
              <a:t>Aquatech</a:t>
            </a:r>
            <a:r>
              <a:rPr lang="en-US" sz="2400" dirty="0"/>
              <a:t> Water Block 2K</a:t>
            </a:r>
            <a:endParaRPr lang="en-SG" sz="2400" dirty="0">
              <a:latin typeface="Colour Sans" panose="02000503030000020004" pitchFamily="2" charset="0"/>
            </a:endParaRPr>
          </a:p>
        </p:txBody>
      </p:sp>
      <p:pic>
        <p:nvPicPr>
          <p:cNvPr id="3" name="Picture 2">
            <a:extLst>
              <a:ext uri="{FF2B5EF4-FFF2-40B4-BE49-F238E27FC236}">
                <a16:creationId xmlns:a16="http://schemas.microsoft.com/office/drawing/2014/main" id="{97862502-7562-A7C4-A00A-7EC52D9141D5}"/>
              </a:ext>
            </a:extLst>
          </p:cNvPr>
          <p:cNvPicPr>
            <a:picLocks noChangeAspect="1"/>
          </p:cNvPicPr>
          <p:nvPr/>
        </p:nvPicPr>
        <p:blipFill>
          <a:blip r:embed="rId5"/>
          <a:stretch>
            <a:fillRect/>
          </a:stretch>
        </p:blipFill>
        <p:spPr>
          <a:xfrm>
            <a:off x="7577883" y="502617"/>
            <a:ext cx="1425827" cy="1425827"/>
          </a:xfrm>
          <a:prstGeom prst="rect">
            <a:avLst/>
          </a:prstGeom>
        </p:spPr>
      </p:pic>
      <p:pic>
        <p:nvPicPr>
          <p:cNvPr id="6" name="Picture 5">
            <a:extLst>
              <a:ext uri="{FF2B5EF4-FFF2-40B4-BE49-F238E27FC236}">
                <a16:creationId xmlns:a16="http://schemas.microsoft.com/office/drawing/2014/main" id="{AF0FD4AB-F148-B669-F075-51FBC87765CD}"/>
              </a:ext>
            </a:extLst>
          </p:cNvPr>
          <p:cNvPicPr>
            <a:picLocks noChangeAspect="1"/>
          </p:cNvPicPr>
          <p:nvPr/>
        </p:nvPicPr>
        <p:blipFill rotWithShape="1">
          <a:blip r:embed="rId6"/>
          <a:srcRect l="51148" t="47363" r="16187" b="43808"/>
          <a:stretch/>
        </p:blipFill>
        <p:spPr>
          <a:xfrm>
            <a:off x="6243496" y="2973818"/>
            <a:ext cx="2881044" cy="438052"/>
          </a:xfrm>
          <a:prstGeom prst="rect">
            <a:avLst/>
          </a:prstGeom>
        </p:spPr>
      </p:pic>
      <p:sp>
        <p:nvSpPr>
          <p:cNvPr id="7" name="TextBox 6">
            <a:extLst>
              <a:ext uri="{FF2B5EF4-FFF2-40B4-BE49-F238E27FC236}">
                <a16:creationId xmlns:a16="http://schemas.microsoft.com/office/drawing/2014/main" id="{ED30F842-76D4-CF28-385D-FB43BD8D92FC}"/>
              </a:ext>
            </a:extLst>
          </p:cNvPr>
          <p:cNvSpPr txBox="1"/>
          <p:nvPr/>
        </p:nvSpPr>
        <p:spPr>
          <a:xfrm>
            <a:off x="6264693" y="3442637"/>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Breathable </a:t>
            </a:r>
          </a:p>
          <a:p>
            <a:r>
              <a:rPr lang="en-SG" sz="700" dirty="0">
                <a:latin typeface="Colour Sans" panose="02000503030000020004" pitchFamily="2" charset="0"/>
              </a:rPr>
              <a:t>Coating</a:t>
            </a:r>
          </a:p>
        </p:txBody>
      </p:sp>
      <p:sp>
        <p:nvSpPr>
          <p:cNvPr id="8" name="TextBox 7">
            <a:extLst>
              <a:ext uri="{FF2B5EF4-FFF2-40B4-BE49-F238E27FC236}">
                <a16:creationId xmlns:a16="http://schemas.microsoft.com/office/drawing/2014/main" id="{A835FE07-348C-3595-267B-C00185F4AD1D}"/>
              </a:ext>
            </a:extLst>
          </p:cNvPr>
          <p:cNvSpPr txBox="1"/>
          <p:nvPr/>
        </p:nvSpPr>
        <p:spPr>
          <a:xfrm>
            <a:off x="6710560" y="3437938"/>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Multi-surface</a:t>
            </a:r>
          </a:p>
          <a:p>
            <a:r>
              <a:rPr lang="en-SG" sz="700" dirty="0">
                <a:latin typeface="Colour Sans" panose="02000503030000020004" pitchFamily="2" charset="0"/>
              </a:rPr>
              <a:t>Adhesion</a:t>
            </a:r>
          </a:p>
        </p:txBody>
      </p:sp>
      <p:sp>
        <p:nvSpPr>
          <p:cNvPr id="9" name="TextBox 8">
            <a:extLst>
              <a:ext uri="{FF2B5EF4-FFF2-40B4-BE49-F238E27FC236}">
                <a16:creationId xmlns:a16="http://schemas.microsoft.com/office/drawing/2014/main" id="{D50AC2BA-3816-78D4-E38E-8067C6F88EA0}"/>
              </a:ext>
            </a:extLst>
          </p:cNvPr>
          <p:cNvSpPr txBox="1"/>
          <p:nvPr/>
        </p:nvSpPr>
        <p:spPr>
          <a:xfrm>
            <a:off x="7271310" y="3443083"/>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Excellent </a:t>
            </a:r>
          </a:p>
          <a:p>
            <a:r>
              <a:rPr lang="en-SG" sz="700" dirty="0">
                <a:latin typeface="Colour Sans" panose="02000503030000020004" pitchFamily="2" charset="0"/>
              </a:rPr>
              <a:t>Anti-Alkali</a:t>
            </a:r>
          </a:p>
          <a:p>
            <a:r>
              <a:rPr lang="en-SG" sz="700" dirty="0">
                <a:latin typeface="Colour Sans" panose="02000503030000020004" pitchFamily="2" charset="0"/>
              </a:rPr>
              <a:t>properties</a:t>
            </a:r>
          </a:p>
        </p:txBody>
      </p:sp>
      <p:sp>
        <p:nvSpPr>
          <p:cNvPr id="10" name="TextBox 9">
            <a:extLst>
              <a:ext uri="{FF2B5EF4-FFF2-40B4-BE49-F238E27FC236}">
                <a16:creationId xmlns:a16="http://schemas.microsoft.com/office/drawing/2014/main" id="{D55494C2-EB0B-9143-E7C4-5328148EE618}"/>
              </a:ext>
            </a:extLst>
          </p:cNvPr>
          <p:cNvSpPr txBox="1"/>
          <p:nvPr/>
        </p:nvSpPr>
        <p:spPr>
          <a:xfrm>
            <a:off x="7785578" y="3446929"/>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Excellent </a:t>
            </a:r>
          </a:p>
          <a:p>
            <a:r>
              <a:rPr lang="en-SG" sz="700" dirty="0">
                <a:latin typeface="Colour Sans" panose="02000503030000020004" pitchFamily="2" charset="0"/>
              </a:rPr>
              <a:t>Flexibility</a:t>
            </a:r>
          </a:p>
        </p:txBody>
      </p:sp>
      <p:sp>
        <p:nvSpPr>
          <p:cNvPr id="11" name="TextBox 10">
            <a:extLst>
              <a:ext uri="{FF2B5EF4-FFF2-40B4-BE49-F238E27FC236}">
                <a16:creationId xmlns:a16="http://schemas.microsoft.com/office/drawing/2014/main" id="{79747C17-B4B9-17C0-D4FC-99E0DD62713B}"/>
              </a:ext>
            </a:extLst>
          </p:cNvPr>
          <p:cNvSpPr txBox="1"/>
          <p:nvPr/>
        </p:nvSpPr>
        <p:spPr>
          <a:xfrm>
            <a:off x="8216760" y="3442371"/>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Superior</a:t>
            </a:r>
          </a:p>
          <a:p>
            <a:r>
              <a:rPr lang="en-SG" sz="700" dirty="0">
                <a:latin typeface="Colour Sans" panose="02000503030000020004" pitchFamily="2" charset="0"/>
              </a:rPr>
              <a:t>WTP</a:t>
            </a:r>
          </a:p>
        </p:txBody>
      </p:sp>
      <p:sp>
        <p:nvSpPr>
          <p:cNvPr id="12" name="TextBox 11">
            <a:extLst>
              <a:ext uri="{FF2B5EF4-FFF2-40B4-BE49-F238E27FC236}">
                <a16:creationId xmlns:a16="http://schemas.microsoft.com/office/drawing/2014/main" id="{3755185D-587F-6B24-5CA0-AA2B5E05E26E}"/>
              </a:ext>
            </a:extLst>
          </p:cNvPr>
          <p:cNvSpPr txBox="1"/>
          <p:nvPr/>
        </p:nvSpPr>
        <p:spPr>
          <a:xfrm>
            <a:off x="8684546" y="3446929"/>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Superior</a:t>
            </a:r>
          </a:p>
          <a:p>
            <a:r>
              <a:rPr lang="en-SG" sz="700" dirty="0">
                <a:latin typeface="Colour Sans" panose="02000503030000020004" pitchFamily="2" charset="0"/>
              </a:rPr>
              <a:t>Anti-</a:t>
            </a:r>
          </a:p>
          <a:p>
            <a:r>
              <a:rPr lang="en-SG" sz="700" dirty="0">
                <a:latin typeface="Colour Sans" panose="02000503030000020004" pitchFamily="2" charset="0"/>
              </a:rPr>
              <a:t>Carbonation</a:t>
            </a:r>
          </a:p>
          <a:p>
            <a:r>
              <a:rPr lang="en-SG" sz="700" dirty="0">
                <a:latin typeface="Colour Sans" panose="02000503030000020004" pitchFamily="2" charset="0"/>
              </a:rPr>
              <a:t>Properties</a:t>
            </a:r>
          </a:p>
        </p:txBody>
      </p:sp>
      <p:sp>
        <p:nvSpPr>
          <p:cNvPr id="13" name="TextBox 12">
            <a:extLst>
              <a:ext uri="{FF2B5EF4-FFF2-40B4-BE49-F238E27FC236}">
                <a16:creationId xmlns:a16="http://schemas.microsoft.com/office/drawing/2014/main" id="{0349C6A4-2C2C-B653-E801-D19753E8E1F3}"/>
              </a:ext>
            </a:extLst>
          </p:cNvPr>
          <p:cNvSpPr txBox="1"/>
          <p:nvPr/>
        </p:nvSpPr>
        <p:spPr>
          <a:xfrm>
            <a:off x="7316154" y="4229100"/>
            <a:ext cx="914400" cy="914400"/>
          </a:xfrm>
          <a:prstGeom prst="rect">
            <a:avLst/>
          </a:prstGeom>
          <a:noFill/>
        </p:spPr>
        <p:txBody>
          <a:bodyPr wrap="none" lIns="0" tIns="0" rIns="0" bIns="0" rtlCol="0">
            <a:noAutofit/>
          </a:bodyPr>
          <a:lstStyle/>
          <a:p>
            <a:r>
              <a:rPr lang="en-US" sz="900" b="0" i="1" dirty="0"/>
              <a:t>Similar Technology available in ID </a:t>
            </a:r>
          </a:p>
          <a:p>
            <a:r>
              <a:rPr lang="en-US" sz="900" b="0" i="1" dirty="0"/>
              <a:t>(Dulux </a:t>
            </a:r>
            <a:r>
              <a:rPr lang="en-US" sz="900" b="0" i="1" dirty="0" err="1"/>
              <a:t>Aquashield</a:t>
            </a:r>
            <a:r>
              <a:rPr lang="en-US" sz="900" b="0" i="1" dirty="0"/>
              <a:t> </a:t>
            </a:r>
            <a:r>
              <a:rPr lang="en-US" sz="900" b="0" i="1" dirty="0" err="1"/>
              <a:t>Waterblock</a:t>
            </a:r>
            <a:r>
              <a:rPr lang="en-US" sz="900" b="0" i="1" dirty="0"/>
              <a:t> 2K), </a:t>
            </a:r>
          </a:p>
          <a:p>
            <a:r>
              <a:rPr lang="en-US" sz="900" b="0" i="1" dirty="0"/>
              <a:t>VN (Dulux WS WTP / </a:t>
            </a:r>
            <a:r>
              <a:rPr lang="en-US" sz="900" i="1" dirty="0"/>
              <a:t>WS WTP </a:t>
            </a:r>
          </a:p>
          <a:p>
            <a:r>
              <a:rPr lang="en-US" sz="900" i="1" dirty="0"/>
              <a:t>Ad Mixture - </a:t>
            </a:r>
            <a:r>
              <a:rPr lang="en-US" sz="900" b="0" i="1" dirty="0"/>
              <a:t>1K only</a:t>
            </a:r>
            <a:r>
              <a:rPr lang="en-US" sz="900" i="1" dirty="0"/>
              <a:t>)</a:t>
            </a:r>
            <a:endParaRPr lang="en-US" sz="900" b="0" i="1" dirty="0"/>
          </a:p>
        </p:txBody>
      </p:sp>
    </p:spTree>
    <p:extLst>
      <p:ext uri="{BB962C8B-B14F-4D97-AF65-F5344CB8AC3E}">
        <p14:creationId xmlns:p14="http://schemas.microsoft.com/office/powerpoint/2010/main" val="3258130448"/>
      </p:ext>
    </p:extLst>
  </p:cSld>
  <p:clrMapOvr>
    <a:masterClrMapping/>
  </p:clrMapOvr>
  <p:transition spd="slow">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3" y="-50977"/>
            <a:ext cx="7952019" cy="36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400" dirty="0"/>
              <a:t>Crack Filler - Dulux </a:t>
            </a:r>
            <a:r>
              <a:rPr lang="en-US" sz="2400" dirty="0" err="1"/>
              <a:t>Aquatech</a:t>
            </a:r>
            <a:r>
              <a:rPr lang="en-US" sz="2400" dirty="0"/>
              <a:t> Crack Filler</a:t>
            </a:r>
            <a:endParaRPr lang="en-SG" sz="2400" dirty="0">
              <a:latin typeface="Colour Sans" panose="02000503030000020004" pitchFamily="2" charset="0"/>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nvGraphicFramePr>
        <p:xfrm>
          <a:off x="-5705" y="344536"/>
          <a:ext cx="4106468" cy="3357895"/>
        </p:xfrm>
        <a:graphic>
          <a:graphicData uri="http://schemas.openxmlformats.org/drawingml/2006/table">
            <a:tbl>
              <a:tblPr firstRow="1" bandRow="1">
                <a:tableStyleId>{5940675A-B579-460E-94D1-54222C63F5DA}</a:tableStyleId>
              </a:tblPr>
              <a:tblGrid>
                <a:gridCol w="4106468">
                  <a:extLst>
                    <a:ext uri="{9D8B030D-6E8A-4147-A177-3AD203B41FA5}">
                      <a16:colId xmlns:a16="http://schemas.microsoft.com/office/drawing/2014/main" val="965239065"/>
                    </a:ext>
                  </a:extLst>
                </a:gridCol>
              </a:tblGrid>
              <a:tr h="247274">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1003643">
                <a:tc>
                  <a:txBody>
                    <a:bodyPr/>
                    <a:lstStyle/>
                    <a:p>
                      <a:r>
                        <a:rPr lang="en-US" sz="900" dirty="0"/>
                        <a:t>Our house is our pride and biggest investment, built to last for generations. In our humid climate dampness and water seepage impacts the structure and safety of our house. </a:t>
                      </a:r>
                    </a:p>
                    <a:p>
                      <a:pPr marL="171450" indent="-171450">
                        <a:buFont typeface="Wingdings" panose="05000000000000000000" pitchFamily="2" charset="2"/>
                        <a:buChar char="ü"/>
                      </a:pPr>
                      <a:r>
                        <a:rPr lang="en-US" sz="900" dirty="0"/>
                        <a:t>How can be rest assured that I’ve prevented any kind of water leaking &amp; seepage issues for my house?</a:t>
                      </a:r>
                    </a:p>
                    <a:p>
                      <a:pPr marL="171450" indent="-171450">
                        <a:buFont typeface="Wingdings" panose="05000000000000000000" pitchFamily="2" charset="2"/>
                        <a:buChar char="ü"/>
                      </a:pPr>
                      <a:r>
                        <a:rPr lang="en-US" sz="900" dirty="0"/>
                        <a:t>I need a thorough and long lasting solution to get the dampness out and prevent it from coming b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47274">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946676">
                <a:tc>
                  <a:txBody>
                    <a:bodyPr/>
                    <a:lstStyle/>
                    <a:p>
                      <a:r>
                        <a:rPr lang="en-US" sz="900" b="1" dirty="0"/>
                        <a:t>Dulux </a:t>
                      </a:r>
                      <a:r>
                        <a:rPr lang="en-US" sz="900" b="1" dirty="0" err="1"/>
                        <a:t>Aquatech</a:t>
                      </a:r>
                      <a:r>
                        <a:rPr lang="en-US" sz="900" b="1" dirty="0"/>
                        <a:t> Crack Fillers </a:t>
                      </a:r>
                      <a:r>
                        <a:rPr lang="en-US" sz="900" dirty="0"/>
                        <a:t>are ready mixed, high performance, light weight crack fillers based on Acrylic polymer dispersion. The high grade inert, light weight fillers used in the formulation makes the crack fillers suitable for application on wide variety of surfaces like concrete, plasters and wood in both interior &amp; exterior surfaces. </a:t>
                      </a:r>
                    </a:p>
                    <a:p>
                      <a:r>
                        <a:rPr lang="en-US" sz="900" i="1" dirty="0"/>
                        <a:t>With </a:t>
                      </a:r>
                      <a:r>
                        <a:rPr lang="en-US" sz="900" b="1" i="1" dirty="0" err="1"/>
                        <a:t>Unibond</a:t>
                      </a:r>
                      <a:r>
                        <a:rPr lang="en-US" sz="900" b="1" i="1" dirty="0"/>
                        <a:t> Technology</a:t>
                      </a:r>
                      <a:r>
                        <a:rPr lang="en-US" sz="900" i="1" dirty="0"/>
                        <a:t>, it provides ready to use one-time application solution for every type of exterior and interior crack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47274">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477535">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SG" sz="900" b="0" dirty="0">
                          <a:latin typeface="+mn-lt"/>
                          <a:ea typeface="Open Sans" panose="020B0606030504020204" pitchFamily="34" charset="0"/>
                          <a:cs typeface="Open Sans" panose="020B0606030504020204" pitchFamily="34" charset="0"/>
                        </a:rPr>
                        <a:t>Peace of mind in the long run by comprehensive waterproofing of my hou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21589" y="3710246"/>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419533" y="1958859"/>
            <a:ext cx="1724467" cy="253586"/>
          </a:xfrm>
          <a:prstGeom prst="rect">
            <a:avLst/>
          </a:prstGeom>
          <a:noFill/>
        </p:spPr>
        <p:txBody>
          <a:bodyPr wrap="square" lIns="0" tIns="0" rIns="0" bIns="0" rtlCol="0">
            <a:noAutofit/>
          </a:bodyPr>
          <a:lstStyle/>
          <a:p>
            <a:pPr algn="ctr"/>
            <a:r>
              <a:rPr lang="en-SG" sz="1100" b="1" dirty="0">
                <a:latin typeface="Colour Sans" panose="02000503030000020004" pitchFamily="2" charset="0"/>
              </a:rPr>
              <a:t>Available in</a:t>
            </a:r>
          </a:p>
          <a:p>
            <a:pPr algn="ctr"/>
            <a:r>
              <a:rPr lang="en-SG" sz="1100" dirty="0">
                <a:latin typeface="Colour Sans" panose="02000503030000020004" pitchFamily="2" charset="0"/>
              </a:rPr>
              <a:t>0.4g, 1Kg, 5Kg (5MM cracks)</a:t>
            </a:r>
          </a:p>
          <a:p>
            <a:pPr algn="ctr"/>
            <a:r>
              <a:rPr lang="en-SG" sz="1100" dirty="0">
                <a:latin typeface="Colour Sans" panose="02000503030000020004" pitchFamily="2" charset="0"/>
              </a:rPr>
              <a:t>0.5Kg ,1Kg.5Kg (10MM cracks) </a:t>
            </a:r>
          </a:p>
          <a:p>
            <a:pPr algn="ctr"/>
            <a:r>
              <a:rPr lang="en-SG" sz="1100" dirty="0">
                <a:latin typeface="Colour Sans" panose="02000503030000020004" pitchFamily="2" charset="0"/>
              </a:rPr>
              <a:t>1Kg &amp; 5Kg (20MM cracks)</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nvGraphicFramePr>
        <p:xfrm>
          <a:off x="-2" y="3962253"/>
          <a:ext cx="3729701" cy="1084527"/>
        </p:xfrm>
        <a:graphic>
          <a:graphicData uri="http://schemas.openxmlformats.org/drawingml/2006/table">
            <a:tbl>
              <a:tblPr firstRow="1" bandRow="1">
                <a:tableStyleId>{2D5ABB26-0587-4C30-8999-92F81FD0307C}</a:tableStyleId>
              </a:tblPr>
              <a:tblGrid>
                <a:gridCol w="1182720">
                  <a:extLst>
                    <a:ext uri="{9D8B030D-6E8A-4147-A177-3AD203B41FA5}">
                      <a16:colId xmlns:a16="http://schemas.microsoft.com/office/drawing/2014/main" val="2714193207"/>
                    </a:ext>
                  </a:extLst>
                </a:gridCol>
                <a:gridCol w="2546981">
                  <a:extLst>
                    <a:ext uri="{9D8B030D-6E8A-4147-A177-3AD203B41FA5}">
                      <a16:colId xmlns:a16="http://schemas.microsoft.com/office/drawing/2014/main" val="402161752"/>
                    </a:ext>
                  </a:extLst>
                </a:gridCol>
              </a:tblGrid>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Applica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Interior &amp; Exterior durabl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75736">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For a crack 5mm wide &amp; 5mm deep – 65-75 </a:t>
                      </a:r>
                      <a:r>
                        <a:rPr lang="en-US" sz="900" dirty="0" err="1">
                          <a:latin typeface="Colour Sans" panose="02000503030000020004"/>
                        </a:rPr>
                        <a:t>rft</a:t>
                      </a:r>
                      <a:r>
                        <a:rPr lang="en-US" sz="900" dirty="0">
                          <a:latin typeface="Colour Sans" panose="02000503030000020004"/>
                        </a:rPr>
                        <a:t>/kg</a:t>
                      </a:r>
                    </a:p>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For a crack 10mm wide &amp; 10mm deep – 50-60 </a:t>
                      </a:r>
                      <a:r>
                        <a:rPr lang="en-US" sz="900" dirty="0" err="1">
                          <a:latin typeface="Colour Sans" panose="02000503030000020004"/>
                        </a:rPr>
                        <a:t>rft</a:t>
                      </a:r>
                      <a:r>
                        <a:rPr lang="en-US" sz="900" dirty="0">
                          <a:latin typeface="Colour Sans" panose="02000503030000020004"/>
                        </a:rPr>
                        <a:t>/kg</a:t>
                      </a:r>
                    </a:p>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For a crack 20mm wide &amp; 20mm deep – 30-40 </a:t>
                      </a:r>
                      <a:r>
                        <a:rPr lang="en-US" sz="900" dirty="0" err="1">
                          <a:latin typeface="Colour Sans" panose="02000503030000020004"/>
                        </a:rPr>
                        <a:t>rft</a:t>
                      </a:r>
                      <a:r>
                        <a:rPr lang="en-US" sz="900" dirty="0">
                          <a:latin typeface="Colour Sans" panose="02000503030000020004"/>
                        </a:rPr>
                        <a:t>/kg</a:t>
                      </a:r>
                    </a:p>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Min. 1 Coat recommend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176614">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Finis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182659">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Whit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nvGraphicFramePr>
        <p:xfrm>
          <a:off x="3869310" y="3971856"/>
          <a:ext cx="3729701" cy="1074924"/>
        </p:xfrm>
        <a:graphic>
          <a:graphicData uri="http://schemas.openxmlformats.org/drawingml/2006/table">
            <a:tbl>
              <a:tblPr firstRow="1" bandRow="1">
                <a:tableStyleId>{2D5ABB26-0587-4C30-8999-92F81FD0307C}</a:tableStyleId>
              </a:tblPr>
              <a:tblGrid>
                <a:gridCol w="1521433">
                  <a:extLst>
                    <a:ext uri="{9D8B030D-6E8A-4147-A177-3AD203B41FA5}">
                      <a16:colId xmlns:a16="http://schemas.microsoft.com/office/drawing/2014/main" val="3738590716"/>
                    </a:ext>
                  </a:extLst>
                </a:gridCol>
                <a:gridCol w="2208268">
                  <a:extLst>
                    <a:ext uri="{9D8B030D-6E8A-4147-A177-3AD203B41FA5}">
                      <a16:colId xmlns:a16="http://schemas.microsoft.com/office/drawing/2014/main" val="3750538898"/>
                    </a:ext>
                  </a:extLst>
                </a:gridCol>
              </a:tblGrid>
              <a:tr h="337961">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proofing Substrat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Vertical Walls &amp; Horizontal (i.e. roofs &amp; terrace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221749">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Performanc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alibri" panose="020F0502020204030204" pitchFamily="34" charset="0"/>
                          <a:cs typeface="Calibri" panose="020F0502020204030204" pitchFamily="34" charset="0"/>
                        </a:rPr>
                        <a:t>One time application since it’s shrink-free</a:t>
                      </a:r>
                      <a:endPar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221749">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icroorganism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dirty="0">
                          <a:solidFill>
                            <a:schemeClr val="tx1"/>
                          </a:solidFill>
                          <a:latin typeface="Calibri" panose="020F0502020204030204" pitchFamily="34" charset="0"/>
                          <a:ea typeface="+mn-ea"/>
                          <a:cs typeface="Calibri" panose="020F0502020204030204" pitchFamily="34" charset="0"/>
                        </a:rPr>
                        <a:t>   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293465">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Crack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Provides up to 5mm/10mm/20mm crack bridging properties </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pic>
        <p:nvPicPr>
          <p:cNvPr id="6" name="Picture 5">
            <a:extLst>
              <a:ext uri="{FF2B5EF4-FFF2-40B4-BE49-F238E27FC236}">
                <a16:creationId xmlns:a16="http://schemas.microsoft.com/office/drawing/2014/main" id="{2828387B-58A2-2382-29EE-1AA17F7FB962}"/>
              </a:ext>
            </a:extLst>
          </p:cNvPr>
          <p:cNvPicPr>
            <a:picLocks noChangeAspect="1"/>
          </p:cNvPicPr>
          <p:nvPr/>
        </p:nvPicPr>
        <p:blipFill rotWithShape="1">
          <a:blip r:embed="rId2"/>
          <a:srcRect r="15738" b="19272"/>
          <a:stretch/>
        </p:blipFill>
        <p:spPr>
          <a:xfrm>
            <a:off x="4252691" y="344536"/>
            <a:ext cx="3046260" cy="1641661"/>
          </a:xfrm>
          <a:prstGeom prst="rect">
            <a:avLst/>
          </a:prstGeom>
        </p:spPr>
      </p:pic>
      <p:pic>
        <p:nvPicPr>
          <p:cNvPr id="7" name="Picture 6">
            <a:extLst>
              <a:ext uri="{FF2B5EF4-FFF2-40B4-BE49-F238E27FC236}">
                <a16:creationId xmlns:a16="http://schemas.microsoft.com/office/drawing/2014/main" id="{88172A08-1AE7-2230-84FB-784FE0F19F84}"/>
              </a:ext>
            </a:extLst>
          </p:cNvPr>
          <p:cNvPicPr>
            <a:picLocks noChangeAspect="1"/>
          </p:cNvPicPr>
          <p:nvPr/>
        </p:nvPicPr>
        <p:blipFill>
          <a:blip r:embed="rId3"/>
          <a:stretch>
            <a:fillRect/>
          </a:stretch>
        </p:blipFill>
        <p:spPr>
          <a:xfrm>
            <a:off x="7589540" y="191941"/>
            <a:ext cx="1524000" cy="1524000"/>
          </a:xfrm>
          <a:prstGeom prst="rect">
            <a:avLst/>
          </a:prstGeom>
        </p:spPr>
      </p:pic>
      <p:pic>
        <p:nvPicPr>
          <p:cNvPr id="10" name="Picture 9">
            <a:extLst>
              <a:ext uri="{FF2B5EF4-FFF2-40B4-BE49-F238E27FC236}">
                <a16:creationId xmlns:a16="http://schemas.microsoft.com/office/drawing/2014/main" id="{EA299788-4724-6C8F-29B4-36A638958D8A}"/>
              </a:ext>
            </a:extLst>
          </p:cNvPr>
          <p:cNvPicPr>
            <a:picLocks noChangeAspect="1"/>
          </p:cNvPicPr>
          <p:nvPr/>
        </p:nvPicPr>
        <p:blipFill rotWithShape="1">
          <a:blip r:embed="rId4"/>
          <a:srcRect l="40984" t="45453" r="52377" b="40973"/>
          <a:stretch/>
        </p:blipFill>
        <p:spPr>
          <a:xfrm>
            <a:off x="4094262" y="3102119"/>
            <a:ext cx="607102" cy="698197"/>
          </a:xfrm>
          <a:prstGeom prst="rect">
            <a:avLst/>
          </a:prstGeom>
        </p:spPr>
      </p:pic>
      <p:pic>
        <p:nvPicPr>
          <p:cNvPr id="11" name="Picture 10">
            <a:extLst>
              <a:ext uri="{FF2B5EF4-FFF2-40B4-BE49-F238E27FC236}">
                <a16:creationId xmlns:a16="http://schemas.microsoft.com/office/drawing/2014/main" id="{A6E09870-8918-E81A-D5C7-7073A1496765}"/>
              </a:ext>
            </a:extLst>
          </p:cNvPr>
          <p:cNvPicPr>
            <a:picLocks noChangeAspect="1"/>
          </p:cNvPicPr>
          <p:nvPr/>
        </p:nvPicPr>
        <p:blipFill rotWithShape="1">
          <a:blip r:embed="rId4"/>
          <a:srcRect l="9660" t="62332" r="64845" b="28093"/>
          <a:stretch/>
        </p:blipFill>
        <p:spPr>
          <a:xfrm>
            <a:off x="4781161" y="3163013"/>
            <a:ext cx="2226039" cy="470316"/>
          </a:xfrm>
          <a:prstGeom prst="rect">
            <a:avLst/>
          </a:prstGeom>
        </p:spPr>
      </p:pic>
      <p:sp>
        <p:nvSpPr>
          <p:cNvPr id="12" name="TextBox 11">
            <a:extLst>
              <a:ext uri="{FF2B5EF4-FFF2-40B4-BE49-F238E27FC236}">
                <a16:creationId xmlns:a16="http://schemas.microsoft.com/office/drawing/2014/main" id="{8AAA6189-85EA-2FB6-4D34-9AB11CDC22F6}"/>
              </a:ext>
            </a:extLst>
          </p:cNvPr>
          <p:cNvSpPr txBox="1"/>
          <p:nvPr/>
        </p:nvSpPr>
        <p:spPr>
          <a:xfrm>
            <a:off x="4781161" y="3640801"/>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Shrink Free</a:t>
            </a:r>
          </a:p>
        </p:txBody>
      </p:sp>
      <p:sp>
        <p:nvSpPr>
          <p:cNvPr id="13" name="TextBox 12">
            <a:extLst>
              <a:ext uri="{FF2B5EF4-FFF2-40B4-BE49-F238E27FC236}">
                <a16:creationId xmlns:a16="http://schemas.microsoft.com/office/drawing/2014/main" id="{512B1673-600B-0EB9-FB55-D3ABC67B8788}"/>
              </a:ext>
            </a:extLst>
          </p:cNvPr>
          <p:cNvSpPr txBox="1"/>
          <p:nvPr/>
        </p:nvSpPr>
        <p:spPr>
          <a:xfrm>
            <a:off x="5311979" y="3640801"/>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Accepts </a:t>
            </a:r>
          </a:p>
          <a:p>
            <a:r>
              <a:rPr lang="en-SG" sz="700" dirty="0">
                <a:latin typeface="Colour Sans" panose="02000503030000020004" pitchFamily="2" charset="0"/>
              </a:rPr>
              <a:t>nails &amp; </a:t>
            </a:r>
          </a:p>
          <a:p>
            <a:r>
              <a:rPr lang="en-SG" sz="700" dirty="0">
                <a:latin typeface="Colour Sans" panose="02000503030000020004" pitchFamily="2" charset="0"/>
              </a:rPr>
              <a:t>screws</a:t>
            </a:r>
          </a:p>
        </p:txBody>
      </p:sp>
      <p:sp>
        <p:nvSpPr>
          <p:cNvPr id="14" name="TextBox 13">
            <a:extLst>
              <a:ext uri="{FF2B5EF4-FFF2-40B4-BE49-F238E27FC236}">
                <a16:creationId xmlns:a16="http://schemas.microsoft.com/office/drawing/2014/main" id="{049E0E53-77FC-9A81-F8DF-2F929BD5FEA9}"/>
              </a:ext>
            </a:extLst>
          </p:cNvPr>
          <p:cNvSpPr txBox="1"/>
          <p:nvPr/>
        </p:nvSpPr>
        <p:spPr>
          <a:xfrm>
            <a:off x="5763002" y="3648606"/>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Quick</a:t>
            </a:r>
          </a:p>
          <a:p>
            <a:r>
              <a:rPr lang="en-SG" sz="700" dirty="0">
                <a:latin typeface="Colour Sans" panose="02000503030000020004" pitchFamily="2" charset="0"/>
              </a:rPr>
              <a:t>Drying</a:t>
            </a:r>
          </a:p>
        </p:txBody>
      </p:sp>
      <p:sp>
        <p:nvSpPr>
          <p:cNvPr id="16" name="TextBox 15">
            <a:extLst>
              <a:ext uri="{FF2B5EF4-FFF2-40B4-BE49-F238E27FC236}">
                <a16:creationId xmlns:a16="http://schemas.microsoft.com/office/drawing/2014/main" id="{DF1A4B20-AD79-B8DA-B133-6FCFAE02347F}"/>
              </a:ext>
            </a:extLst>
          </p:cNvPr>
          <p:cNvSpPr txBox="1"/>
          <p:nvPr/>
        </p:nvSpPr>
        <p:spPr>
          <a:xfrm>
            <a:off x="6130407" y="3636799"/>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Multi-surface</a:t>
            </a:r>
          </a:p>
          <a:p>
            <a:r>
              <a:rPr lang="en-SG" sz="700" dirty="0">
                <a:latin typeface="Colour Sans" panose="02000503030000020004" pitchFamily="2" charset="0"/>
              </a:rPr>
              <a:t>Adhesion</a:t>
            </a:r>
          </a:p>
        </p:txBody>
      </p:sp>
      <p:sp>
        <p:nvSpPr>
          <p:cNvPr id="22" name="TextBox 21">
            <a:extLst>
              <a:ext uri="{FF2B5EF4-FFF2-40B4-BE49-F238E27FC236}">
                <a16:creationId xmlns:a16="http://schemas.microsoft.com/office/drawing/2014/main" id="{D0F12AF7-C4C1-CE22-61C7-AA7701298972}"/>
              </a:ext>
            </a:extLst>
          </p:cNvPr>
          <p:cNvSpPr txBox="1"/>
          <p:nvPr/>
        </p:nvSpPr>
        <p:spPr>
          <a:xfrm>
            <a:off x="6724143" y="3648606"/>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Ease of </a:t>
            </a:r>
          </a:p>
          <a:p>
            <a:r>
              <a:rPr lang="en-SG" sz="700" dirty="0">
                <a:latin typeface="Colour Sans" panose="02000503030000020004" pitchFamily="2" charset="0"/>
              </a:rPr>
              <a:t>sanding</a:t>
            </a:r>
          </a:p>
        </p:txBody>
      </p:sp>
    </p:spTree>
    <p:extLst>
      <p:ext uri="{BB962C8B-B14F-4D97-AF65-F5344CB8AC3E}">
        <p14:creationId xmlns:p14="http://schemas.microsoft.com/office/powerpoint/2010/main" val="20698228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79" y="29810"/>
            <a:ext cx="9258095" cy="372542"/>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400" dirty="0"/>
              <a:t>Int. Liquid Applied Vertical - Dulux </a:t>
            </a:r>
            <a:r>
              <a:rPr lang="en-US" sz="2400" dirty="0" err="1"/>
              <a:t>Aquatech</a:t>
            </a:r>
            <a:r>
              <a:rPr lang="en-US" sz="2400" dirty="0"/>
              <a:t> Int. WTP BC</a:t>
            </a:r>
            <a:endParaRPr lang="en-SG" sz="2400" dirty="0">
              <a:latin typeface="Colour Sans" panose="02000503030000020004" pitchFamily="2" charset="0"/>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3862739443"/>
              </p:ext>
            </p:extLst>
          </p:nvPr>
        </p:nvGraphicFramePr>
        <p:xfrm>
          <a:off x="0" y="468498"/>
          <a:ext cx="4106468" cy="3108960"/>
        </p:xfrm>
        <a:graphic>
          <a:graphicData uri="http://schemas.openxmlformats.org/drawingml/2006/table">
            <a:tbl>
              <a:tblPr firstRow="1" bandRow="1">
                <a:tableStyleId>{5940675A-B579-460E-94D1-54222C63F5DA}</a:tableStyleId>
              </a:tblPr>
              <a:tblGrid>
                <a:gridCol w="4106468">
                  <a:extLst>
                    <a:ext uri="{9D8B030D-6E8A-4147-A177-3AD203B41FA5}">
                      <a16:colId xmlns:a16="http://schemas.microsoft.com/office/drawing/2014/main" val="965239065"/>
                    </a:ext>
                  </a:extLst>
                </a:gridCol>
              </a:tblGrid>
              <a:tr h="163031">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631561">
                <a:tc>
                  <a:txBody>
                    <a:bodyPr/>
                    <a:lstStyle/>
                    <a:p>
                      <a:r>
                        <a:rPr lang="en-US" sz="900" dirty="0"/>
                        <a:t>Our house is our pride and biggest investment, built to last for generations. In our humid climate dampness and water seepage impacts the structure and safety of our house. </a:t>
                      </a:r>
                    </a:p>
                    <a:p>
                      <a:pPr marL="171450" indent="-171450">
                        <a:buFont typeface="Wingdings" panose="05000000000000000000" pitchFamily="2" charset="2"/>
                        <a:buChar char="ü"/>
                      </a:pPr>
                      <a:r>
                        <a:rPr lang="en-US" sz="900" dirty="0"/>
                        <a:t>I want to protect my house upfront by preventing the occurrence of dampness &amp; water seepage issues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163031">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748024">
                <a:tc>
                  <a:txBody>
                    <a:bodyPr/>
                    <a:lstStyle/>
                    <a:p>
                      <a:r>
                        <a:rPr lang="en-US" sz="900" b="1" dirty="0"/>
                        <a:t>Dulux </a:t>
                      </a:r>
                      <a:r>
                        <a:rPr lang="en-US" sz="900" b="1" dirty="0" err="1"/>
                        <a:t>Aquatech</a:t>
                      </a:r>
                      <a:r>
                        <a:rPr lang="en-US" sz="900" b="1" dirty="0"/>
                        <a:t> Interior Waterproof Basecoat </a:t>
                      </a:r>
                      <a:r>
                        <a:rPr lang="en-US" sz="900" dirty="0"/>
                        <a:t>is a single component liquid applied waterproofing solution that forms a breathable </a:t>
                      </a:r>
                      <a:r>
                        <a:rPr lang="en-US" sz="900" dirty="0" err="1"/>
                        <a:t>memberane</a:t>
                      </a:r>
                      <a:r>
                        <a:rPr lang="en-US" sz="900" dirty="0"/>
                        <a:t> and helps to prevent surface dampness of the interior walls. It is made up of micronized pigments &amp; fillers coupled with an extremely tough polymer that protects the topcoat layer from mild dampness. </a:t>
                      </a:r>
                    </a:p>
                    <a:p>
                      <a:r>
                        <a:rPr lang="en-US" sz="900" i="1" dirty="0"/>
                        <a:t>With unique </a:t>
                      </a:r>
                      <a:r>
                        <a:rPr lang="en-US" sz="900" b="1" i="1" dirty="0" err="1"/>
                        <a:t>Hydrobreathe</a:t>
                      </a:r>
                      <a:r>
                        <a:rPr lang="en-US" sz="900" b="1" i="1" dirty="0"/>
                        <a:t> Technology</a:t>
                      </a:r>
                      <a:r>
                        <a:rPr lang="en-US" sz="900" i="1" dirty="0"/>
                        <a:t>, it ensures that the moisture inside the walls does not stay in the system by helping the walls to breathe the moisture ou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163031">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300498">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SG" sz="900" b="0" dirty="0">
                          <a:latin typeface="+mn-lt"/>
                          <a:ea typeface="Open Sans" panose="020B0606030504020204" pitchFamily="34" charset="0"/>
                          <a:cs typeface="Open Sans" panose="020B0606030504020204" pitchFamily="34" charset="0"/>
                        </a:rPr>
                        <a:t>Stay worry free when it comes to protection of my house from any dampness and seepages issu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0" y="3661454"/>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661606" y="2326449"/>
            <a:ext cx="1171575" cy="175936"/>
          </a:xfrm>
          <a:prstGeom prst="rect">
            <a:avLst/>
          </a:prstGeom>
          <a:noFill/>
        </p:spPr>
        <p:txBody>
          <a:bodyPr wrap="square" lIns="0" tIns="0" rIns="0" bIns="0" rtlCol="0">
            <a:noAutofit/>
          </a:bodyPr>
          <a:lstStyle/>
          <a:p>
            <a:pPr algn="ctr"/>
            <a:r>
              <a:rPr lang="en-SG" sz="1100" b="1" dirty="0">
                <a:latin typeface="Colour Sans" panose="02000503030000020004" pitchFamily="2" charset="0"/>
              </a:rPr>
              <a:t>Available in</a:t>
            </a:r>
          </a:p>
          <a:p>
            <a:pPr algn="ctr"/>
            <a:r>
              <a:rPr lang="en-SG" sz="1100" dirty="0">
                <a:latin typeface="Colour Sans" panose="02000503030000020004" pitchFamily="2" charset="0"/>
              </a:rPr>
              <a:t>1, 4, 10 &amp; 20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nvGraphicFramePr>
        <p:xfrm>
          <a:off x="0" y="3893084"/>
          <a:ext cx="3584090" cy="854484"/>
        </p:xfrm>
        <a:graphic>
          <a:graphicData uri="http://schemas.openxmlformats.org/drawingml/2006/table">
            <a:tbl>
              <a:tblPr firstRow="1" bandRow="1">
                <a:tableStyleId>{2D5ABB26-0587-4C30-8999-92F81FD0307C}</a:tableStyleId>
              </a:tblPr>
              <a:tblGrid>
                <a:gridCol w="944380">
                  <a:extLst>
                    <a:ext uri="{9D8B030D-6E8A-4147-A177-3AD203B41FA5}">
                      <a16:colId xmlns:a16="http://schemas.microsoft.com/office/drawing/2014/main" val="2714193207"/>
                    </a:ext>
                  </a:extLst>
                </a:gridCol>
                <a:gridCol w="2639710">
                  <a:extLst>
                    <a:ext uri="{9D8B030D-6E8A-4147-A177-3AD203B41FA5}">
                      <a16:colId xmlns:a16="http://schemas.microsoft.com/office/drawing/2014/main" val="402161752"/>
                    </a:ext>
                  </a:extLst>
                </a:gridCol>
              </a:tblGrid>
              <a:tr h="5626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Applica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Interior durabl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5626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16.7-18.5 m2/</a:t>
                      </a:r>
                      <a:r>
                        <a:rPr lang="en-US" sz="900" dirty="0" err="1">
                          <a:latin typeface="Colour Sans" panose="02000503030000020004"/>
                        </a:rPr>
                        <a:t>lt</a:t>
                      </a:r>
                      <a:r>
                        <a:rPr lang="en-US" sz="900" dirty="0">
                          <a:latin typeface="Colour Sans" panose="02000503030000020004"/>
                        </a:rPr>
                        <a:t>/coat forced coverage</a:t>
                      </a:r>
                    </a:p>
                    <a:p>
                      <a:pPr marL="0" marR="0" lvl="0" indent="85725" algn="l" defTabSz="914400" rtl="0" eaLnBrk="1" fontAlgn="b" latinLnBrk="0" hangingPunct="1">
                        <a:lnSpc>
                          <a:spcPct val="100000"/>
                        </a:lnSpc>
                        <a:spcBef>
                          <a:spcPts val="0"/>
                        </a:spcBef>
                        <a:spcAft>
                          <a:spcPts val="0"/>
                        </a:spcAft>
                        <a:buClrTx/>
                        <a:buSzTx/>
                        <a:buFontTx/>
                        <a:buNone/>
                        <a:tabLst/>
                        <a:defRPr/>
                      </a:pPr>
                      <a:r>
                        <a:rPr lang="en-US" sz="900" kern="1200" noProof="0" dirty="0">
                          <a:solidFill>
                            <a:schemeClr val="tx1"/>
                          </a:solidFill>
                          <a:latin typeface="Colour Sans" panose="02000503030000020004"/>
                          <a:ea typeface="+mn-ea"/>
                          <a:cs typeface="+mn-cs"/>
                        </a:rPr>
                        <a:t>Min. 2 coats (recommend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305844">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Finis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a:ln>
                            <a:noFill/>
                          </a:ln>
                          <a:solidFill>
                            <a:srgbClr val="000000"/>
                          </a:solidFill>
                          <a:effectLst/>
                          <a:uLnTx/>
                          <a:uFillTx/>
                          <a:latin typeface="Colour Sans" panose="02000503030000020004"/>
                          <a:ea typeface="+mn-ea"/>
                          <a:cs typeface="+mn-cs"/>
                        </a:rPr>
                        <a:t>NA</a:t>
                      </a:r>
                      <a:endPar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58186">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Whit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nvGraphicFramePr>
        <p:xfrm>
          <a:off x="3630607" y="3893083"/>
          <a:ext cx="3614969" cy="814296"/>
        </p:xfrm>
        <a:graphic>
          <a:graphicData uri="http://schemas.openxmlformats.org/drawingml/2006/table">
            <a:tbl>
              <a:tblPr firstRow="1" bandRow="1">
                <a:tableStyleId>{2D5ABB26-0587-4C30-8999-92F81FD0307C}</a:tableStyleId>
              </a:tblPr>
              <a:tblGrid>
                <a:gridCol w="1474631">
                  <a:extLst>
                    <a:ext uri="{9D8B030D-6E8A-4147-A177-3AD203B41FA5}">
                      <a16:colId xmlns:a16="http://schemas.microsoft.com/office/drawing/2014/main" val="3738590716"/>
                    </a:ext>
                  </a:extLst>
                </a:gridCol>
                <a:gridCol w="2140338">
                  <a:extLst>
                    <a:ext uri="{9D8B030D-6E8A-4147-A177-3AD203B41FA5}">
                      <a16:colId xmlns:a16="http://schemas.microsoft.com/office/drawing/2014/main" val="3750538898"/>
                    </a:ext>
                  </a:extLst>
                </a:gridCol>
              </a:tblGrid>
              <a:tr h="179992">
                <a:tc>
                  <a:txBody>
                    <a:bodyPr/>
                    <a:lstStyle/>
                    <a:p>
                      <a:pPr marL="0" indent="85725" algn="l" fontAlgn="b"/>
                      <a:r>
                        <a:rPr lang="en-SG" sz="900" b="0" i="0" u="none" strike="noStrike">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proofing Substrat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Vertical Wall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179992">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Performanc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alibri" panose="020F0502020204030204" pitchFamily="34" charset="0"/>
                          <a:cs typeface="Calibri" panose="020F0502020204030204" pitchFamily="34" charset="0"/>
                        </a:rPr>
                        <a:t>Gives 10X water resistance &amp; 2X higher stretchability (vs ordinary prime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179992">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icroorganism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dirty="0">
                          <a:latin typeface="Calibri" panose="020F0502020204030204" pitchFamily="34" charset="0"/>
                          <a:cs typeface="Calibri" panose="020F0502020204030204" pitchFamily="34" charset="0"/>
                        </a:rPr>
                        <a:t>  </a:t>
                      </a:r>
                      <a:r>
                        <a:rPr lang="en-US" sz="900" kern="1200" dirty="0">
                          <a:solidFill>
                            <a:schemeClr val="tx1"/>
                          </a:solidFill>
                          <a:latin typeface="Calibri" panose="020F0502020204030204" pitchFamily="34" charset="0"/>
                          <a:ea typeface="+mn-ea"/>
                          <a:cs typeface="Calibri" panose="020F0502020204030204" pitchFamily="34" charset="0"/>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179992">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Crack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3" name="TextBox 2">
            <a:extLst>
              <a:ext uri="{FF2B5EF4-FFF2-40B4-BE49-F238E27FC236}">
                <a16:creationId xmlns:a16="http://schemas.microsoft.com/office/drawing/2014/main" id="{AFD677D1-9819-3FCB-8A3D-13672FC713BF}"/>
              </a:ext>
            </a:extLst>
          </p:cNvPr>
          <p:cNvSpPr txBox="1"/>
          <p:nvPr/>
        </p:nvSpPr>
        <p:spPr>
          <a:xfrm>
            <a:off x="7292093" y="3549839"/>
            <a:ext cx="1879784" cy="900015"/>
          </a:xfrm>
          <a:prstGeom prst="rect">
            <a:avLst/>
          </a:prstGeom>
          <a:noFill/>
        </p:spPr>
        <p:txBody>
          <a:bodyPr wrap="square" lIns="0" tIns="0" rIns="0" bIns="0" rtlCol="0">
            <a:noAutofit/>
          </a:bodyPr>
          <a:lstStyle/>
          <a:p>
            <a:r>
              <a:rPr lang="en-SG" sz="1100" b="1" dirty="0">
                <a:latin typeface="Colour Sans" panose="02000503030000020004" pitchFamily="2" charset="0"/>
              </a:rPr>
              <a:t>Other benefits:</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Micronized pigments to seal the pores causing dampness</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Improves top coat performance &amp; finish</a:t>
            </a:r>
          </a:p>
          <a:p>
            <a:r>
              <a:rPr lang="en-US" sz="1100" dirty="0">
                <a:latin typeface="Calibri" panose="020F0502020204030204" pitchFamily="34" charset="0"/>
                <a:cs typeface="Calibri" panose="020F0502020204030204" pitchFamily="34" charset="0"/>
              </a:rPr>
              <a:t>	</a:t>
            </a:r>
            <a:endParaRPr lang="en-US" sz="1100" b="0" dirty="0">
              <a:latin typeface="Calibri" panose="020F0502020204030204" pitchFamily="34" charset="0"/>
              <a:cs typeface="Calibri" panose="020F0502020204030204" pitchFamily="34" charset="0"/>
            </a:endParaRPr>
          </a:p>
        </p:txBody>
      </p:sp>
      <p:pic>
        <p:nvPicPr>
          <p:cNvPr id="9" name="Picture 8">
            <a:extLst>
              <a:ext uri="{FF2B5EF4-FFF2-40B4-BE49-F238E27FC236}">
                <a16:creationId xmlns:a16="http://schemas.microsoft.com/office/drawing/2014/main" id="{4691500E-9DF5-46C5-9B0C-55F9F71814D9}"/>
              </a:ext>
            </a:extLst>
          </p:cNvPr>
          <p:cNvPicPr>
            <a:picLocks noChangeAspect="1"/>
          </p:cNvPicPr>
          <p:nvPr/>
        </p:nvPicPr>
        <p:blipFill rotWithShape="1">
          <a:blip r:embed="rId2"/>
          <a:srcRect l="4427" t="62090" r="77939" b="27764"/>
          <a:stretch/>
        </p:blipFill>
        <p:spPr>
          <a:xfrm>
            <a:off x="5495801" y="2626136"/>
            <a:ext cx="2358628" cy="763371"/>
          </a:xfrm>
          <a:prstGeom prst="rect">
            <a:avLst/>
          </a:prstGeom>
        </p:spPr>
      </p:pic>
      <p:pic>
        <p:nvPicPr>
          <p:cNvPr id="21" name="Picture 20">
            <a:extLst>
              <a:ext uri="{FF2B5EF4-FFF2-40B4-BE49-F238E27FC236}">
                <a16:creationId xmlns:a16="http://schemas.microsoft.com/office/drawing/2014/main" id="{3B0E5EA7-6C88-4C6D-88D5-F56AF249CFD6}"/>
              </a:ext>
            </a:extLst>
          </p:cNvPr>
          <p:cNvPicPr>
            <a:picLocks noChangeAspect="1"/>
          </p:cNvPicPr>
          <p:nvPr/>
        </p:nvPicPr>
        <p:blipFill rotWithShape="1">
          <a:blip r:embed="rId2"/>
          <a:srcRect l="40807" t="44299" r="51919" b="41703"/>
          <a:stretch/>
        </p:blipFill>
        <p:spPr>
          <a:xfrm>
            <a:off x="4478907" y="2465803"/>
            <a:ext cx="929668" cy="1006403"/>
          </a:xfrm>
          <a:prstGeom prst="rect">
            <a:avLst/>
          </a:prstGeom>
        </p:spPr>
      </p:pic>
      <p:pic>
        <p:nvPicPr>
          <p:cNvPr id="4" name="Picture 3">
            <a:extLst>
              <a:ext uri="{FF2B5EF4-FFF2-40B4-BE49-F238E27FC236}">
                <a16:creationId xmlns:a16="http://schemas.microsoft.com/office/drawing/2014/main" id="{85A016DD-7C1C-4858-ACC5-92877C84EDD5}"/>
              </a:ext>
            </a:extLst>
          </p:cNvPr>
          <p:cNvPicPr>
            <a:picLocks noChangeAspect="1"/>
          </p:cNvPicPr>
          <p:nvPr/>
        </p:nvPicPr>
        <p:blipFill>
          <a:blip r:embed="rId3"/>
          <a:stretch>
            <a:fillRect/>
          </a:stretch>
        </p:blipFill>
        <p:spPr>
          <a:xfrm>
            <a:off x="4262313" y="453930"/>
            <a:ext cx="3029780" cy="2011874"/>
          </a:xfrm>
          <a:prstGeom prst="rect">
            <a:avLst/>
          </a:prstGeom>
        </p:spPr>
      </p:pic>
      <p:pic>
        <p:nvPicPr>
          <p:cNvPr id="8" name="Picture 7">
            <a:extLst>
              <a:ext uri="{FF2B5EF4-FFF2-40B4-BE49-F238E27FC236}">
                <a16:creationId xmlns:a16="http://schemas.microsoft.com/office/drawing/2014/main" id="{25E4B29E-9D7B-43BF-A5DD-A45A4C6072DB}"/>
              </a:ext>
            </a:extLst>
          </p:cNvPr>
          <p:cNvPicPr>
            <a:picLocks noChangeAspect="1"/>
          </p:cNvPicPr>
          <p:nvPr/>
        </p:nvPicPr>
        <p:blipFill>
          <a:blip r:embed="rId4"/>
          <a:stretch>
            <a:fillRect/>
          </a:stretch>
        </p:blipFill>
        <p:spPr>
          <a:xfrm>
            <a:off x="7282409" y="423934"/>
            <a:ext cx="1929967" cy="1923195"/>
          </a:xfrm>
          <a:prstGeom prst="rect">
            <a:avLst/>
          </a:prstGeom>
        </p:spPr>
      </p:pic>
      <p:sp>
        <p:nvSpPr>
          <p:cNvPr id="6" name="TextBox 5">
            <a:extLst>
              <a:ext uri="{FF2B5EF4-FFF2-40B4-BE49-F238E27FC236}">
                <a16:creationId xmlns:a16="http://schemas.microsoft.com/office/drawing/2014/main" id="{A97DC419-007E-96B8-1D55-20003E80108D}"/>
              </a:ext>
            </a:extLst>
          </p:cNvPr>
          <p:cNvSpPr txBox="1"/>
          <p:nvPr/>
        </p:nvSpPr>
        <p:spPr>
          <a:xfrm>
            <a:off x="7332992" y="4536399"/>
            <a:ext cx="914400" cy="914400"/>
          </a:xfrm>
          <a:prstGeom prst="rect">
            <a:avLst/>
          </a:prstGeom>
          <a:noFill/>
        </p:spPr>
        <p:txBody>
          <a:bodyPr wrap="none" lIns="0" tIns="0" rIns="0" bIns="0" rtlCol="0">
            <a:noAutofit/>
          </a:bodyPr>
          <a:lstStyle/>
          <a:p>
            <a:r>
              <a:rPr lang="en-US" sz="900" b="0" i="1" dirty="0"/>
              <a:t>Similar Technology available in PK </a:t>
            </a:r>
          </a:p>
          <a:p>
            <a:r>
              <a:rPr lang="en-US" sz="900" b="0" i="1" dirty="0"/>
              <a:t>(Dulux </a:t>
            </a:r>
            <a:r>
              <a:rPr lang="en-US" sz="900" b="0" i="1" dirty="0" err="1"/>
              <a:t>Aquashield</a:t>
            </a:r>
            <a:r>
              <a:rPr lang="en-US" sz="900" b="0" i="1" dirty="0"/>
              <a:t> Interior </a:t>
            </a:r>
          </a:p>
          <a:p>
            <a:r>
              <a:rPr lang="en-US" sz="900" b="0" i="1" dirty="0"/>
              <a:t>Basecoat)</a:t>
            </a:r>
          </a:p>
        </p:txBody>
      </p:sp>
      <p:sp>
        <p:nvSpPr>
          <p:cNvPr id="7" name="TextBox 6">
            <a:extLst>
              <a:ext uri="{FF2B5EF4-FFF2-40B4-BE49-F238E27FC236}">
                <a16:creationId xmlns:a16="http://schemas.microsoft.com/office/drawing/2014/main" id="{5F6A8772-BE06-CB71-E31D-9A1609EBA87D}"/>
              </a:ext>
            </a:extLst>
          </p:cNvPr>
          <p:cNvSpPr txBox="1"/>
          <p:nvPr/>
        </p:nvSpPr>
        <p:spPr>
          <a:xfrm>
            <a:off x="5659340" y="3314275"/>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10X Water Resistance</a:t>
            </a:r>
          </a:p>
        </p:txBody>
      </p:sp>
      <p:sp>
        <p:nvSpPr>
          <p:cNvPr id="10" name="TextBox 9">
            <a:extLst>
              <a:ext uri="{FF2B5EF4-FFF2-40B4-BE49-F238E27FC236}">
                <a16:creationId xmlns:a16="http://schemas.microsoft.com/office/drawing/2014/main" id="{36B192AE-D567-E543-45B2-3672D16CCC68}"/>
              </a:ext>
            </a:extLst>
          </p:cNvPr>
          <p:cNvSpPr txBox="1"/>
          <p:nvPr/>
        </p:nvSpPr>
        <p:spPr>
          <a:xfrm>
            <a:off x="6483843" y="3314275"/>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Micronized </a:t>
            </a:r>
          </a:p>
          <a:p>
            <a:r>
              <a:rPr lang="en-SG" sz="700" dirty="0">
                <a:latin typeface="Colour Sans" panose="02000503030000020004" pitchFamily="2" charset="0"/>
              </a:rPr>
              <a:t>Pigments</a:t>
            </a:r>
          </a:p>
        </p:txBody>
      </p:sp>
      <p:sp>
        <p:nvSpPr>
          <p:cNvPr id="11" name="TextBox 10">
            <a:extLst>
              <a:ext uri="{FF2B5EF4-FFF2-40B4-BE49-F238E27FC236}">
                <a16:creationId xmlns:a16="http://schemas.microsoft.com/office/drawing/2014/main" id="{6650B43C-FA37-DDA3-7BA6-C4AC1D4651D7}"/>
              </a:ext>
            </a:extLst>
          </p:cNvPr>
          <p:cNvSpPr txBox="1"/>
          <p:nvPr/>
        </p:nvSpPr>
        <p:spPr>
          <a:xfrm>
            <a:off x="7313673" y="3314275"/>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Enhanced Top </a:t>
            </a:r>
          </a:p>
          <a:p>
            <a:r>
              <a:rPr lang="en-SG" sz="700" dirty="0">
                <a:latin typeface="Colour Sans" panose="02000503030000020004" pitchFamily="2" charset="0"/>
              </a:rPr>
              <a:t>Coat Life</a:t>
            </a:r>
          </a:p>
        </p:txBody>
      </p:sp>
    </p:spTree>
    <p:extLst>
      <p:ext uri="{BB962C8B-B14F-4D97-AF65-F5344CB8AC3E}">
        <p14:creationId xmlns:p14="http://schemas.microsoft.com/office/powerpoint/2010/main" val="2527824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79" y="29810"/>
            <a:ext cx="9258095" cy="372542"/>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1800" dirty="0"/>
              <a:t>Int. Liquid Applied Vertical - Dulux </a:t>
            </a:r>
            <a:r>
              <a:rPr lang="en-US" sz="1800" dirty="0" err="1"/>
              <a:t>Aquatech</a:t>
            </a:r>
            <a:r>
              <a:rPr lang="en-US" sz="1800" dirty="0"/>
              <a:t> Int. WTP BC Advance</a:t>
            </a:r>
            <a:endParaRPr lang="en-SG" sz="1800" dirty="0">
              <a:latin typeface="Colour Sans" panose="02000503030000020004" pitchFamily="2" charset="0"/>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1148054568"/>
              </p:ext>
            </p:extLst>
          </p:nvPr>
        </p:nvGraphicFramePr>
        <p:xfrm>
          <a:off x="0" y="468498"/>
          <a:ext cx="4106468" cy="2697480"/>
        </p:xfrm>
        <a:graphic>
          <a:graphicData uri="http://schemas.openxmlformats.org/drawingml/2006/table">
            <a:tbl>
              <a:tblPr firstRow="1" bandRow="1">
                <a:tableStyleId>{5940675A-B579-460E-94D1-54222C63F5DA}</a:tableStyleId>
              </a:tblPr>
              <a:tblGrid>
                <a:gridCol w="4106468">
                  <a:extLst>
                    <a:ext uri="{9D8B030D-6E8A-4147-A177-3AD203B41FA5}">
                      <a16:colId xmlns:a16="http://schemas.microsoft.com/office/drawing/2014/main" val="965239065"/>
                    </a:ext>
                  </a:extLst>
                </a:gridCol>
              </a:tblGrid>
              <a:tr h="163031">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631561">
                <a:tc>
                  <a:txBody>
                    <a:bodyPr/>
                    <a:lstStyle/>
                    <a:p>
                      <a:r>
                        <a:rPr lang="en-US" sz="900" dirty="0"/>
                        <a:t>Our house is our pride and biggest investment, built to last for generations. In our humid climate dampness and water seepage impacts the structure and safety of our house. </a:t>
                      </a:r>
                    </a:p>
                    <a:p>
                      <a:pPr marL="171450" indent="-171450">
                        <a:buFont typeface="Wingdings" panose="05000000000000000000" pitchFamily="2" charset="2"/>
                        <a:buChar char="ü"/>
                      </a:pPr>
                      <a:r>
                        <a:rPr lang="en-US" sz="900" dirty="0"/>
                        <a:t>I want to protect my house upfront by preventing the occurrence of dampness &amp; water seepage issues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163031">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748024">
                <a:tc>
                  <a:txBody>
                    <a:bodyPr/>
                    <a:lstStyle/>
                    <a:p>
                      <a:r>
                        <a:rPr lang="en-US" sz="900" b="1" dirty="0"/>
                        <a:t>Dulux </a:t>
                      </a:r>
                      <a:r>
                        <a:rPr lang="en-US" sz="900" b="1" dirty="0" err="1"/>
                        <a:t>Aquatech</a:t>
                      </a:r>
                      <a:r>
                        <a:rPr lang="en-US" sz="900" b="1" dirty="0"/>
                        <a:t> Interior Waterproof Basecoat Advance </a:t>
                      </a:r>
                      <a:r>
                        <a:rPr lang="en-US" sz="900" dirty="0"/>
                        <a:t>is a single component liquid applied waterproofing solution for interior surfaces which provides a long term solution against interior waterproofing issues like dampness and alkali attack . Thus keeping the film integrity intact for a longer period of time.</a:t>
                      </a:r>
                      <a:endParaRPr lang="en-US" sz="900" i="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163031">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300498">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SG" sz="900" b="0" dirty="0">
                          <a:latin typeface="+mn-lt"/>
                          <a:ea typeface="Open Sans" panose="020B0606030504020204" pitchFamily="34" charset="0"/>
                          <a:cs typeface="Open Sans" panose="020B0606030504020204" pitchFamily="34" charset="0"/>
                        </a:rPr>
                        <a:t>Stay worry free when it comes to protection of my house from any dampness and seepages issu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0" y="3661454"/>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661606" y="2326449"/>
            <a:ext cx="1171575" cy="175936"/>
          </a:xfrm>
          <a:prstGeom prst="rect">
            <a:avLst/>
          </a:prstGeom>
          <a:noFill/>
        </p:spPr>
        <p:txBody>
          <a:bodyPr wrap="square" lIns="0" tIns="0" rIns="0" bIns="0" rtlCol="0">
            <a:noAutofit/>
          </a:bodyPr>
          <a:lstStyle/>
          <a:p>
            <a:pPr algn="ctr"/>
            <a:r>
              <a:rPr lang="en-SG" sz="1100" b="1" dirty="0">
                <a:latin typeface="Colour Sans" panose="02000503030000020004" pitchFamily="2" charset="0"/>
              </a:rPr>
              <a:t>Available in</a:t>
            </a:r>
          </a:p>
          <a:p>
            <a:pPr algn="ctr"/>
            <a:r>
              <a:rPr lang="en-SG" sz="1100" dirty="0">
                <a:latin typeface="Colour Sans" panose="02000503030000020004" pitchFamily="2" charset="0"/>
              </a:rPr>
              <a:t>1, 4, 10 &amp; 20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extLst>
              <p:ext uri="{D42A27DB-BD31-4B8C-83A1-F6EECF244321}">
                <p14:modId xmlns:p14="http://schemas.microsoft.com/office/powerpoint/2010/main" val="2257154441"/>
              </p:ext>
            </p:extLst>
          </p:nvPr>
        </p:nvGraphicFramePr>
        <p:xfrm>
          <a:off x="0" y="3893084"/>
          <a:ext cx="3584090" cy="717324"/>
        </p:xfrm>
        <a:graphic>
          <a:graphicData uri="http://schemas.openxmlformats.org/drawingml/2006/table">
            <a:tbl>
              <a:tblPr firstRow="1" bandRow="1">
                <a:tableStyleId>{2D5ABB26-0587-4C30-8999-92F81FD0307C}</a:tableStyleId>
              </a:tblPr>
              <a:tblGrid>
                <a:gridCol w="944380">
                  <a:extLst>
                    <a:ext uri="{9D8B030D-6E8A-4147-A177-3AD203B41FA5}">
                      <a16:colId xmlns:a16="http://schemas.microsoft.com/office/drawing/2014/main" val="2714193207"/>
                    </a:ext>
                  </a:extLst>
                </a:gridCol>
                <a:gridCol w="2639710">
                  <a:extLst>
                    <a:ext uri="{9D8B030D-6E8A-4147-A177-3AD203B41FA5}">
                      <a16:colId xmlns:a16="http://schemas.microsoft.com/office/drawing/2014/main" val="402161752"/>
                    </a:ext>
                  </a:extLst>
                </a:gridCol>
              </a:tblGrid>
              <a:tr h="5626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Applica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Interior durabl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5626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4.6-5.57/</a:t>
                      </a:r>
                      <a:r>
                        <a:rPr lang="en-US" sz="900" dirty="0" err="1">
                          <a:latin typeface="Colour Sans" panose="02000503030000020004"/>
                        </a:rPr>
                        <a:t>lt</a:t>
                      </a:r>
                      <a:r>
                        <a:rPr lang="en-US" sz="900" dirty="0">
                          <a:latin typeface="Colour Sans" panose="02000503030000020004"/>
                        </a:rPr>
                        <a:t>/coat forced coverag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305844">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Finis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a:ln>
                            <a:noFill/>
                          </a:ln>
                          <a:solidFill>
                            <a:srgbClr val="000000"/>
                          </a:solidFill>
                          <a:effectLst/>
                          <a:uLnTx/>
                          <a:uFillTx/>
                          <a:latin typeface="Colour Sans" panose="02000503030000020004"/>
                          <a:ea typeface="+mn-ea"/>
                          <a:cs typeface="+mn-cs"/>
                        </a:rPr>
                        <a:t>NA</a:t>
                      </a:r>
                      <a:endPar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58186">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Whit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extLst>
              <p:ext uri="{D42A27DB-BD31-4B8C-83A1-F6EECF244321}">
                <p14:modId xmlns:p14="http://schemas.microsoft.com/office/powerpoint/2010/main" val="2384678424"/>
              </p:ext>
            </p:extLst>
          </p:nvPr>
        </p:nvGraphicFramePr>
        <p:xfrm>
          <a:off x="3630607" y="3893083"/>
          <a:ext cx="3614969" cy="814296"/>
        </p:xfrm>
        <a:graphic>
          <a:graphicData uri="http://schemas.openxmlformats.org/drawingml/2006/table">
            <a:tbl>
              <a:tblPr firstRow="1" bandRow="1">
                <a:tableStyleId>{2D5ABB26-0587-4C30-8999-92F81FD0307C}</a:tableStyleId>
              </a:tblPr>
              <a:tblGrid>
                <a:gridCol w="1474631">
                  <a:extLst>
                    <a:ext uri="{9D8B030D-6E8A-4147-A177-3AD203B41FA5}">
                      <a16:colId xmlns:a16="http://schemas.microsoft.com/office/drawing/2014/main" val="3738590716"/>
                    </a:ext>
                  </a:extLst>
                </a:gridCol>
                <a:gridCol w="2140338">
                  <a:extLst>
                    <a:ext uri="{9D8B030D-6E8A-4147-A177-3AD203B41FA5}">
                      <a16:colId xmlns:a16="http://schemas.microsoft.com/office/drawing/2014/main" val="3750538898"/>
                    </a:ext>
                  </a:extLst>
                </a:gridCol>
              </a:tblGrid>
              <a:tr h="179992">
                <a:tc>
                  <a:txBody>
                    <a:bodyPr/>
                    <a:lstStyle/>
                    <a:p>
                      <a:pPr marL="0" indent="85725" algn="l" fontAlgn="b"/>
                      <a:r>
                        <a:rPr lang="en-SG" sz="900" b="0" i="0" u="none" strike="noStrike">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proofing Substrat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Vertical Wall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179992">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Performanc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alibri" panose="020F0502020204030204" pitchFamily="34" charset="0"/>
                          <a:cs typeface="Calibri" panose="020F0502020204030204" pitchFamily="34" charset="0"/>
                        </a:rPr>
                        <a:t>Gives 10X water resistance &amp; 2X higher stretchability (vs ordinary prime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179992">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icroorganism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dirty="0">
                          <a:latin typeface="Calibri" panose="020F0502020204030204" pitchFamily="34" charset="0"/>
                          <a:cs typeface="Calibri" panose="020F0502020204030204" pitchFamily="34" charset="0"/>
                        </a:rPr>
                        <a:t>  </a:t>
                      </a:r>
                      <a:r>
                        <a:rPr lang="en-US" sz="900" kern="1200" dirty="0">
                          <a:solidFill>
                            <a:schemeClr val="tx1"/>
                          </a:solidFill>
                          <a:latin typeface="Calibri" panose="020F0502020204030204" pitchFamily="34" charset="0"/>
                          <a:ea typeface="+mn-ea"/>
                          <a:cs typeface="Calibri" panose="020F0502020204030204" pitchFamily="34" charset="0"/>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179992">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Crack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0.5mm</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pic>
        <p:nvPicPr>
          <p:cNvPr id="4" name="Picture 3">
            <a:extLst>
              <a:ext uri="{FF2B5EF4-FFF2-40B4-BE49-F238E27FC236}">
                <a16:creationId xmlns:a16="http://schemas.microsoft.com/office/drawing/2014/main" id="{85A016DD-7C1C-4858-ACC5-92877C84EDD5}"/>
              </a:ext>
            </a:extLst>
          </p:cNvPr>
          <p:cNvPicPr>
            <a:picLocks noChangeAspect="1"/>
          </p:cNvPicPr>
          <p:nvPr/>
        </p:nvPicPr>
        <p:blipFill>
          <a:blip r:embed="rId2"/>
          <a:stretch>
            <a:fillRect/>
          </a:stretch>
        </p:blipFill>
        <p:spPr>
          <a:xfrm>
            <a:off x="4262313" y="453930"/>
            <a:ext cx="3029780" cy="2011874"/>
          </a:xfrm>
          <a:prstGeom prst="rect">
            <a:avLst/>
          </a:prstGeom>
        </p:spPr>
      </p:pic>
      <p:pic>
        <p:nvPicPr>
          <p:cNvPr id="14" name="Picture 13" descr="A blue and silver container with waterproofing&#10;&#10;Description automatically generated">
            <a:extLst>
              <a:ext uri="{FF2B5EF4-FFF2-40B4-BE49-F238E27FC236}">
                <a16:creationId xmlns:a16="http://schemas.microsoft.com/office/drawing/2014/main" id="{7296413E-EF55-131B-061A-A0BF6D7F2784}"/>
              </a:ext>
            </a:extLst>
          </p:cNvPr>
          <p:cNvPicPr>
            <a:picLocks noChangeAspect="1"/>
          </p:cNvPicPr>
          <p:nvPr/>
        </p:nvPicPr>
        <p:blipFill>
          <a:blip r:embed="rId3"/>
          <a:stretch>
            <a:fillRect/>
          </a:stretch>
        </p:blipFill>
        <p:spPr>
          <a:xfrm>
            <a:off x="7055252" y="283143"/>
            <a:ext cx="2204022" cy="1976732"/>
          </a:xfrm>
          <a:prstGeom prst="rect">
            <a:avLst/>
          </a:prstGeom>
        </p:spPr>
      </p:pic>
      <p:pic>
        <p:nvPicPr>
          <p:cNvPr id="16" name="Picture 15" descr="A close-up of a logo&#10;&#10;Description automatically generated">
            <a:extLst>
              <a:ext uri="{FF2B5EF4-FFF2-40B4-BE49-F238E27FC236}">
                <a16:creationId xmlns:a16="http://schemas.microsoft.com/office/drawing/2014/main" id="{97FDBFD2-4E9D-7070-35DF-5511F551FFFD}"/>
              </a:ext>
            </a:extLst>
          </p:cNvPr>
          <p:cNvPicPr>
            <a:picLocks noChangeAspect="1"/>
          </p:cNvPicPr>
          <p:nvPr/>
        </p:nvPicPr>
        <p:blipFill rotWithShape="1">
          <a:blip r:embed="rId4"/>
          <a:srcRect r="6010" b="69655"/>
          <a:stretch/>
        </p:blipFill>
        <p:spPr>
          <a:xfrm>
            <a:off x="3852549" y="2283236"/>
            <a:ext cx="3419046" cy="1560786"/>
          </a:xfrm>
          <a:prstGeom prst="rect">
            <a:avLst/>
          </a:prstGeom>
        </p:spPr>
      </p:pic>
      <p:pic>
        <p:nvPicPr>
          <p:cNvPr id="23" name="Picture 22" descr="A close-up of a logo&#10;&#10;Description automatically generated">
            <a:extLst>
              <a:ext uri="{FF2B5EF4-FFF2-40B4-BE49-F238E27FC236}">
                <a16:creationId xmlns:a16="http://schemas.microsoft.com/office/drawing/2014/main" id="{1C2A2EBB-F5F3-7720-43A4-CCB44858794C}"/>
              </a:ext>
            </a:extLst>
          </p:cNvPr>
          <p:cNvPicPr>
            <a:picLocks noChangeAspect="1"/>
          </p:cNvPicPr>
          <p:nvPr/>
        </p:nvPicPr>
        <p:blipFill rotWithShape="1">
          <a:blip r:embed="rId4"/>
          <a:srcRect t="30038" b="53564"/>
          <a:stretch/>
        </p:blipFill>
        <p:spPr>
          <a:xfrm>
            <a:off x="5562072" y="2684214"/>
            <a:ext cx="3637692" cy="843456"/>
          </a:xfrm>
          <a:prstGeom prst="rect">
            <a:avLst/>
          </a:prstGeom>
        </p:spPr>
      </p:pic>
      <p:pic>
        <p:nvPicPr>
          <p:cNvPr id="25" name="Picture 24" descr="A close-up of a logo&#10;&#10;Description automatically generated">
            <a:extLst>
              <a:ext uri="{FF2B5EF4-FFF2-40B4-BE49-F238E27FC236}">
                <a16:creationId xmlns:a16="http://schemas.microsoft.com/office/drawing/2014/main" id="{97525B92-B7AF-C9CE-39CA-920F376B2BFA}"/>
              </a:ext>
            </a:extLst>
          </p:cNvPr>
          <p:cNvPicPr>
            <a:picLocks noChangeAspect="1"/>
          </p:cNvPicPr>
          <p:nvPr/>
        </p:nvPicPr>
        <p:blipFill rotWithShape="1">
          <a:blip r:embed="rId4"/>
          <a:srcRect t="45231"/>
          <a:stretch/>
        </p:blipFill>
        <p:spPr>
          <a:xfrm>
            <a:off x="7055252" y="2902612"/>
            <a:ext cx="2427707" cy="2011874"/>
          </a:xfrm>
          <a:prstGeom prst="rect">
            <a:avLst/>
          </a:prstGeom>
        </p:spPr>
      </p:pic>
    </p:spTree>
    <p:extLst>
      <p:ext uri="{BB962C8B-B14F-4D97-AF65-F5344CB8AC3E}">
        <p14:creationId xmlns:p14="http://schemas.microsoft.com/office/powerpoint/2010/main" val="36995692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79" y="29810"/>
            <a:ext cx="9258095" cy="372542"/>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400" dirty="0"/>
              <a:t>Ext. Liquid Applied Vertical - Dulux </a:t>
            </a:r>
            <a:r>
              <a:rPr lang="en-US" sz="2400" dirty="0" err="1"/>
              <a:t>Aquatech</a:t>
            </a:r>
            <a:r>
              <a:rPr lang="en-US" sz="2400" dirty="0"/>
              <a:t> Flexible WTP BC</a:t>
            </a:r>
            <a:endParaRPr lang="en-SG" sz="2400" dirty="0">
              <a:latin typeface="Colour Sans" panose="02000503030000020004" pitchFamily="2" charset="0"/>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nvGraphicFramePr>
        <p:xfrm>
          <a:off x="0" y="468498"/>
          <a:ext cx="4106468" cy="2834640"/>
        </p:xfrm>
        <a:graphic>
          <a:graphicData uri="http://schemas.openxmlformats.org/drawingml/2006/table">
            <a:tbl>
              <a:tblPr firstRow="1" bandRow="1">
                <a:tableStyleId>{5940675A-B579-460E-94D1-54222C63F5DA}</a:tableStyleId>
              </a:tblPr>
              <a:tblGrid>
                <a:gridCol w="4106468">
                  <a:extLst>
                    <a:ext uri="{9D8B030D-6E8A-4147-A177-3AD203B41FA5}">
                      <a16:colId xmlns:a16="http://schemas.microsoft.com/office/drawing/2014/main" val="965239065"/>
                    </a:ext>
                  </a:extLst>
                </a:gridCol>
              </a:tblGrid>
              <a:tr h="163031">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631561">
                <a:tc>
                  <a:txBody>
                    <a:bodyPr/>
                    <a:lstStyle/>
                    <a:p>
                      <a:r>
                        <a:rPr lang="en-US" sz="900" dirty="0"/>
                        <a:t>Our house is our pride and biggest investment, built to last for generations. In our humid climate dampness and water seepage impacts the structure and safety of our house. </a:t>
                      </a:r>
                    </a:p>
                    <a:p>
                      <a:pPr marL="171450" indent="-171450">
                        <a:buFont typeface="Wingdings" panose="05000000000000000000" pitchFamily="2" charset="2"/>
                        <a:buChar char="ü"/>
                      </a:pPr>
                      <a:r>
                        <a:rPr lang="en-US" sz="900" dirty="0"/>
                        <a:t>I want to protect my house upfront by preventing the occurrence of dampness &amp; water seepage issues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163031">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748024">
                <a:tc>
                  <a:txBody>
                    <a:bodyPr/>
                    <a:lstStyle/>
                    <a:p>
                      <a:r>
                        <a:rPr lang="en-US" sz="900" b="1" dirty="0"/>
                        <a:t>Dulux </a:t>
                      </a:r>
                      <a:r>
                        <a:rPr lang="en-US" sz="900" b="1" dirty="0" err="1"/>
                        <a:t>Aquatech</a:t>
                      </a:r>
                      <a:r>
                        <a:rPr lang="en-US" sz="900" b="1" dirty="0"/>
                        <a:t> Flexible Waterproof Basecoat </a:t>
                      </a:r>
                      <a:r>
                        <a:rPr lang="en-US" sz="900" dirty="0"/>
                        <a:t>provides excellent water resistance. It provides 10 years of waterproofing protection and is tough enough for normal roof as well as sidewall usage. </a:t>
                      </a:r>
                    </a:p>
                    <a:p>
                      <a:r>
                        <a:rPr lang="en-US" sz="900" i="1" dirty="0"/>
                        <a:t>With unique </a:t>
                      </a:r>
                      <a:r>
                        <a:rPr lang="en-US" sz="900" b="1" i="1" dirty="0" err="1"/>
                        <a:t>Hydroshield</a:t>
                      </a:r>
                      <a:r>
                        <a:rPr lang="en-US" sz="900" b="1" i="1" dirty="0"/>
                        <a:t> Technology</a:t>
                      </a:r>
                      <a:r>
                        <a:rPr lang="en-US" sz="900" i="1" dirty="0"/>
                        <a:t>, it bridges cracks and covers the porous wall surface with a thick protective film, preventing water seepage, carbonation and fungal attack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163031">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300498">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SG" sz="900" b="0" dirty="0">
                          <a:latin typeface="+mn-lt"/>
                          <a:ea typeface="Open Sans" panose="020B0606030504020204" pitchFamily="34" charset="0"/>
                          <a:cs typeface="Open Sans" panose="020B0606030504020204" pitchFamily="34" charset="0"/>
                        </a:rPr>
                        <a:t>Stay worry free when it comes to protection of my house from any dampness and seepages issu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0" y="3661454"/>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884457" y="2326026"/>
            <a:ext cx="1171575" cy="175936"/>
          </a:xfrm>
          <a:prstGeom prst="rect">
            <a:avLst/>
          </a:prstGeom>
          <a:noFill/>
        </p:spPr>
        <p:txBody>
          <a:bodyPr wrap="square" lIns="0" tIns="0" rIns="0" bIns="0" rtlCol="0">
            <a:noAutofit/>
          </a:bodyPr>
          <a:lstStyle/>
          <a:p>
            <a:pPr algn="ctr"/>
            <a:r>
              <a:rPr lang="en-SG" sz="1100" b="1" dirty="0">
                <a:latin typeface="Colour Sans" panose="02000503030000020004" pitchFamily="2" charset="0"/>
              </a:rPr>
              <a:t>Available in</a:t>
            </a:r>
          </a:p>
          <a:p>
            <a:pPr algn="ctr"/>
            <a:r>
              <a:rPr lang="en-SG" sz="1100" dirty="0">
                <a:latin typeface="Colour Sans" panose="02000503030000020004" pitchFamily="2" charset="0"/>
              </a:rPr>
              <a:t>1L, 4L &amp; 20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extLst>
              <p:ext uri="{D42A27DB-BD31-4B8C-83A1-F6EECF244321}">
                <p14:modId xmlns:p14="http://schemas.microsoft.com/office/powerpoint/2010/main" val="1512103900"/>
              </p:ext>
            </p:extLst>
          </p:nvPr>
        </p:nvGraphicFramePr>
        <p:xfrm>
          <a:off x="0" y="3893084"/>
          <a:ext cx="3837482" cy="991644"/>
        </p:xfrm>
        <a:graphic>
          <a:graphicData uri="http://schemas.openxmlformats.org/drawingml/2006/table">
            <a:tbl>
              <a:tblPr firstRow="1" bandRow="1">
                <a:tableStyleId>{2D5ABB26-0587-4C30-8999-92F81FD0307C}</a:tableStyleId>
              </a:tblPr>
              <a:tblGrid>
                <a:gridCol w="1011147">
                  <a:extLst>
                    <a:ext uri="{9D8B030D-6E8A-4147-A177-3AD203B41FA5}">
                      <a16:colId xmlns:a16="http://schemas.microsoft.com/office/drawing/2014/main" val="2714193207"/>
                    </a:ext>
                  </a:extLst>
                </a:gridCol>
                <a:gridCol w="2826335">
                  <a:extLst>
                    <a:ext uri="{9D8B030D-6E8A-4147-A177-3AD203B41FA5}">
                      <a16:colId xmlns:a16="http://schemas.microsoft.com/office/drawing/2014/main" val="402161752"/>
                    </a:ext>
                  </a:extLst>
                </a:gridCol>
              </a:tblGrid>
              <a:tr h="5626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Applica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Exterior Vertical Surface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5626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4.1-5.6 m2/</a:t>
                      </a:r>
                      <a:r>
                        <a:rPr lang="en-US" sz="900" dirty="0" err="1">
                          <a:latin typeface="Colour Sans" panose="02000503030000020004"/>
                        </a:rPr>
                        <a:t>lt</a:t>
                      </a:r>
                      <a:r>
                        <a:rPr lang="en-US" sz="900" dirty="0">
                          <a:latin typeface="Colour Sans" panose="02000503030000020004"/>
                        </a:rPr>
                        <a:t>/coat for smooth surface with low porosity</a:t>
                      </a:r>
                    </a:p>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2.7-4.1 m2/</a:t>
                      </a:r>
                      <a:r>
                        <a:rPr lang="en-US" sz="900" dirty="0" err="1">
                          <a:latin typeface="Colour Sans" panose="02000503030000020004"/>
                        </a:rPr>
                        <a:t>lt</a:t>
                      </a:r>
                      <a:r>
                        <a:rPr lang="en-US" sz="900" dirty="0">
                          <a:latin typeface="Colour Sans" panose="02000503030000020004"/>
                        </a:rPr>
                        <a:t>/coat for absorbent surface with high porosity</a:t>
                      </a:r>
                      <a:endParaRPr lang="en-US" sz="900" kern="1200" noProof="0" dirty="0">
                        <a:solidFill>
                          <a:schemeClr val="tx1"/>
                        </a:solidFill>
                        <a:latin typeface="Colour Sans" panose="02000503030000020004"/>
                        <a:ea typeface="+mn-ea"/>
                        <a:cs typeface="+mn-cs"/>
                      </a:endParaRPr>
                    </a:p>
                    <a:p>
                      <a:pPr marL="0" marR="0" lvl="0" indent="85725" algn="l" defTabSz="914400" rtl="0" eaLnBrk="1" fontAlgn="b" latinLnBrk="0" hangingPunct="1">
                        <a:lnSpc>
                          <a:spcPct val="100000"/>
                        </a:lnSpc>
                        <a:spcBef>
                          <a:spcPts val="0"/>
                        </a:spcBef>
                        <a:spcAft>
                          <a:spcPts val="0"/>
                        </a:spcAft>
                        <a:buClrTx/>
                        <a:buSzTx/>
                        <a:buFontTx/>
                        <a:buNone/>
                        <a:tabLst/>
                        <a:defRPr/>
                      </a:pPr>
                      <a:r>
                        <a:rPr lang="en-US" sz="900" kern="1200" noProof="0" dirty="0">
                          <a:solidFill>
                            <a:schemeClr val="tx1"/>
                          </a:solidFill>
                          <a:latin typeface="Colour Sans" panose="02000503030000020004"/>
                          <a:ea typeface="+mn-ea"/>
                          <a:cs typeface="+mn-cs"/>
                        </a:rPr>
                        <a:t>Min. 1 coat (recommend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305844">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Finis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a:ln>
                            <a:noFill/>
                          </a:ln>
                          <a:solidFill>
                            <a:srgbClr val="000000"/>
                          </a:solidFill>
                          <a:effectLst/>
                          <a:uLnTx/>
                          <a:uFillTx/>
                          <a:latin typeface="Colour Sans" panose="02000503030000020004"/>
                          <a:ea typeface="+mn-ea"/>
                          <a:cs typeface="+mn-cs"/>
                        </a:rPr>
                        <a:t>NA</a:t>
                      </a:r>
                      <a:endPar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58186">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Whit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extLst>
              <p:ext uri="{D42A27DB-BD31-4B8C-83A1-F6EECF244321}">
                <p14:modId xmlns:p14="http://schemas.microsoft.com/office/powerpoint/2010/main" val="3720825136"/>
              </p:ext>
            </p:extLst>
          </p:nvPr>
        </p:nvGraphicFramePr>
        <p:xfrm>
          <a:off x="3909835" y="3901403"/>
          <a:ext cx="3268857" cy="854484"/>
        </p:xfrm>
        <a:graphic>
          <a:graphicData uri="http://schemas.openxmlformats.org/drawingml/2006/table">
            <a:tbl>
              <a:tblPr firstRow="1" bandRow="1">
                <a:tableStyleId>{2D5ABB26-0587-4C30-8999-92F81FD0307C}</a:tableStyleId>
              </a:tblPr>
              <a:tblGrid>
                <a:gridCol w="1333444">
                  <a:extLst>
                    <a:ext uri="{9D8B030D-6E8A-4147-A177-3AD203B41FA5}">
                      <a16:colId xmlns:a16="http://schemas.microsoft.com/office/drawing/2014/main" val="3738590716"/>
                    </a:ext>
                  </a:extLst>
                </a:gridCol>
                <a:gridCol w="1935413">
                  <a:extLst>
                    <a:ext uri="{9D8B030D-6E8A-4147-A177-3AD203B41FA5}">
                      <a16:colId xmlns:a16="http://schemas.microsoft.com/office/drawing/2014/main" val="3750538898"/>
                    </a:ext>
                  </a:extLst>
                </a:gridCol>
              </a:tblGrid>
              <a:tr h="188875">
                <a:tc>
                  <a:txBody>
                    <a:bodyPr/>
                    <a:lstStyle/>
                    <a:p>
                      <a:pPr marL="0" indent="85725" algn="l" fontAlgn="b"/>
                      <a:r>
                        <a:rPr lang="en-SG" sz="900" b="0" i="0" u="none" strike="noStrike">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proofing Substrat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Vertical Wall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287859">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Performanc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alibri" panose="020F0502020204030204" pitchFamily="34" charset="0"/>
                          <a:cs typeface="Calibri" panose="020F0502020204030204" pitchFamily="34" charset="0"/>
                        </a:rPr>
                        <a:t>It provides 10 years of waterproofing protection </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188875">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icroorganism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dirty="0">
                          <a:latin typeface="Calibri" panose="020F0502020204030204" pitchFamily="34" charset="0"/>
                          <a:cs typeface="Calibri" panose="020F0502020204030204" pitchFamily="34" charset="0"/>
                        </a:rPr>
                        <a:t>  </a:t>
                      </a:r>
                      <a:r>
                        <a:rPr lang="en-US" sz="900" kern="1200" dirty="0">
                          <a:solidFill>
                            <a:schemeClr val="tx1"/>
                          </a:solidFill>
                          <a:latin typeface="Calibri" panose="020F0502020204030204" pitchFamily="34" charset="0"/>
                          <a:ea typeface="+mn-ea"/>
                          <a:cs typeface="Calibri" panose="020F0502020204030204" pitchFamily="34" charset="0"/>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188875">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Crack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err="1">
                          <a:ln>
                            <a:noFill/>
                          </a:ln>
                          <a:solidFill>
                            <a:srgbClr val="000000"/>
                          </a:solidFill>
                          <a:effectLst/>
                          <a:uLnTx/>
                          <a:uFillTx/>
                          <a:latin typeface="Colour Sans" panose="02000503030000020004" pitchFamily="2" charset="0"/>
                          <a:ea typeface="+mn-ea"/>
                          <a:cs typeface="+mn-cs"/>
                        </a:rPr>
                        <a:t>Upto</a:t>
                      </a: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 3mm with WS PF</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6" name="TextBox 5">
            <a:extLst>
              <a:ext uri="{FF2B5EF4-FFF2-40B4-BE49-F238E27FC236}">
                <a16:creationId xmlns:a16="http://schemas.microsoft.com/office/drawing/2014/main" id="{A97DC419-007E-96B8-1D55-20003E80108D}"/>
              </a:ext>
            </a:extLst>
          </p:cNvPr>
          <p:cNvSpPr txBox="1"/>
          <p:nvPr/>
        </p:nvSpPr>
        <p:spPr>
          <a:xfrm>
            <a:off x="7251045" y="4290303"/>
            <a:ext cx="914400" cy="914400"/>
          </a:xfrm>
          <a:prstGeom prst="rect">
            <a:avLst/>
          </a:prstGeom>
          <a:noFill/>
        </p:spPr>
        <p:txBody>
          <a:bodyPr wrap="none" lIns="0" tIns="0" rIns="0" bIns="0" rtlCol="0">
            <a:noAutofit/>
          </a:bodyPr>
          <a:lstStyle/>
          <a:p>
            <a:r>
              <a:rPr lang="en-US" sz="900" b="0" i="1" dirty="0"/>
              <a:t>Similar Technology available in PK </a:t>
            </a:r>
          </a:p>
          <a:p>
            <a:r>
              <a:rPr lang="en-US" sz="900" b="0" i="1" dirty="0"/>
              <a:t>(Dulux </a:t>
            </a:r>
            <a:r>
              <a:rPr lang="en-US" sz="900" b="0" i="1" dirty="0" err="1"/>
              <a:t>Aquashield</a:t>
            </a:r>
            <a:r>
              <a:rPr lang="en-US" sz="900" b="0" i="1" dirty="0"/>
              <a:t> Flexible WTP </a:t>
            </a:r>
          </a:p>
          <a:p>
            <a:r>
              <a:rPr lang="en-US" sz="900" b="0" i="1" dirty="0"/>
              <a:t>Basecoat), VN (Dulux </a:t>
            </a:r>
            <a:r>
              <a:rPr lang="en-US" sz="900" b="0" i="1" dirty="0" err="1"/>
              <a:t>Aquatech</a:t>
            </a:r>
            <a:r>
              <a:rPr lang="en-US" sz="900" b="0" i="1" dirty="0"/>
              <a:t> </a:t>
            </a:r>
          </a:p>
          <a:p>
            <a:r>
              <a:rPr lang="en-US" sz="900" b="0" i="1" dirty="0"/>
              <a:t>Flexible WTP, ID (Dulux </a:t>
            </a:r>
          </a:p>
          <a:p>
            <a:r>
              <a:rPr lang="en-US" sz="900" b="0" i="1" dirty="0" err="1"/>
              <a:t>Aquashield</a:t>
            </a:r>
            <a:r>
              <a:rPr lang="en-US" sz="900" b="0" i="1" dirty="0"/>
              <a:t> Flexible WTP), LK </a:t>
            </a:r>
          </a:p>
          <a:p>
            <a:r>
              <a:rPr lang="en-US" sz="900" b="0" i="1" dirty="0"/>
              <a:t>(Dulux </a:t>
            </a:r>
            <a:r>
              <a:rPr lang="en-US" sz="900" b="0" i="1" dirty="0" err="1"/>
              <a:t>Aquatech</a:t>
            </a:r>
            <a:r>
              <a:rPr lang="en-US" sz="900" b="0" i="1" dirty="0"/>
              <a:t> Flexible WTP) </a:t>
            </a:r>
          </a:p>
        </p:txBody>
      </p:sp>
      <p:sp>
        <p:nvSpPr>
          <p:cNvPr id="7" name="TextBox 6">
            <a:extLst>
              <a:ext uri="{FF2B5EF4-FFF2-40B4-BE49-F238E27FC236}">
                <a16:creationId xmlns:a16="http://schemas.microsoft.com/office/drawing/2014/main" id="{5F6A8772-BE06-CB71-E31D-9A1609EBA87D}"/>
              </a:ext>
            </a:extLst>
          </p:cNvPr>
          <p:cNvSpPr txBox="1"/>
          <p:nvPr/>
        </p:nvSpPr>
        <p:spPr>
          <a:xfrm>
            <a:off x="4910455" y="3253305"/>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Superior </a:t>
            </a:r>
          </a:p>
          <a:p>
            <a:r>
              <a:rPr lang="en-SG" sz="700" dirty="0">
                <a:latin typeface="Colour Sans" panose="02000503030000020004" pitchFamily="2" charset="0"/>
              </a:rPr>
              <a:t>WTP </a:t>
            </a:r>
          </a:p>
          <a:p>
            <a:r>
              <a:rPr lang="en-SG" sz="700" dirty="0">
                <a:latin typeface="Colour Sans" panose="02000503030000020004" pitchFamily="2" charset="0"/>
              </a:rPr>
              <a:t>Protection</a:t>
            </a:r>
          </a:p>
        </p:txBody>
      </p:sp>
      <p:sp>
        <p:nvSpPr>
          <p:cNvPr id="10" name="TextBox 9">
            <a:extLst>
              <a:ext uri="{FF2B5EF4-FFF2-40B4-BE49-F238E27FC236}">
                <a16:creationId xmlns:a16="http://schemas.microsoft.com/office/drawing/2014/main" id="{36B192AE-D567-E543-45B2-3672D16CCC68}"/>
              </a:ext>
            </a:extLst>
          </p:cNvPr>
          <p:cNvSpPr txBox="1"/>
          <p:nvPr/>
        </p:nvSpPr>
        <p:spPr>
          <a:xfrm>
            <a:off x="5438091" y="3238877"/>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Latex Film</a:t>
            </a:r>
          </a:p>
        </p:txBody>
      </p:sp>
      <p:sp>
        <p:nvSpPr>
          <p:cNvPr id="11" name="TextBox 10">
            <a:extLst>
              <a:ext uri="{FF2B5EF4-FFF2-40B4-BE49-F238E27FC236}">
                <a16:creationId xmlns:a16="http://schemas.microsoft.com/office/drawing/2014/main" id="{6650B43C-FA37-DDA3-7BA6-C4AC1D4651D7}"/>
              </a:ext>
            </a:extLst>
          </p:cNvPr>
          <p:cNvSpPr txBox="1"/>
          <p:nvPr/>
        </p:nvSpPr>
        <p:spPr>
          <a:xfrm>
            <a:off x="5987523" y="3253305"/>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Superior </a:t>
            </a:r>
          </a:p>
          <a:p>
            <a:r>
              <a:rPr lang="en-SG" sz="700" dirty="0">
                <a:latin typeface="Colour Sans" panose="02000503030000020004" pitchFamily="2" charset="0"/>
              </a:rPr>
              <a:t>Binders</a:t>
            </a:r>
          </a:p>
        </p:txBody>
      </p:sp>
      <p:pic>
        <p:nvPicPr>
          <p:cNvPr id="13" name="Picture 12">
            <a:extLst>
              <a:ext uri="{FF2B5EF4-FFF2-40B4-BE49-F238E27FC236}">
                <a16:creationId xmlns:a16="http://schemas.microsoft.com/office/drawing/2014/main" id="{8624E293-F21E-32A1-75B7-D29499C2649E}"/>
              </a:ext>
            </a:extLst>
          </p:cNvPr>
          <p:cNvPicPr>
            <a:picLocks noChangeAspect="1"/>
          </p:cNvPicPr>
          <p:nvPr/>
        </p:nvPicPr>
        <p:blipFill rotWithShape="1">
          <a:blip r:embed="rId2"/>
          <a:srcRect l="50000" t="55156" r="32180" b="35921"/>
          <a:stretch/>
        </p:blipFill>
        <p:spPr>
          <a:xfrm>
            <a:off x="4742803" y="2765524"/>
            <a:ext cx="1629421" cy="458925"/>
          </a:xfrm>
          <a:prstGeom prst="rect">
            <a:avLst/>
          </a:prstGeom>
        </p:spPr>
      </p:pic>
      <p:pic>
        <p:nvPicPr>
          <p:cNvPr id="14" name="Picture 13">
            <a:extLst>
              <a:ext uri="{FF2B5EF4-FFF2-40B4-BE49-F238E27FC236}">
                <a16:creationId xmlns:a16="http://schemas.microsoft.com/office/drawing/2014/main" id="{C5DA2229-CBB8-469E-B0D6-D2235713DE1F}"/>
              </a:ext>
            </a:extLst>
          </p:cNvPr>
          <p:cNvPicPr>
            <a:picLocks noChangeAspect="1"/>
          </p:cNvPicPr>
          <p:nvPr/>
        </p:nvPicPr>
        <p:blipFill rotWithShape="1">
          <a:blip r:embed="rId2"/>
          <a:srcRect l="87188" t="35264" r="5945" b="48940"/>
          <a:stretch/>
        </p:blipFill>
        <p:spPr>
          <a:xfrm>
            <a:off x="4114897" y="2560522"/>
            <a:ext cx="627906" cy="812441"/>
          </a:xfrm>
          <a:prstGeom prst="rect">
            <a:avLst/>
          </a:prstGeom>
        </p:spPr>
      </p:pic>
      <p:sp>
        <p:nvSpPr>
          <p:cNvPr id="15" name="TextBox 14">
            <a:extLst>
              <a:ext uri="{FF2B5EF4-FFF2-40B4-BE49-F238E27FC236}">
                <a16:creationId xmlns:a16="http://schemas.microsoft.com/office/drawing/2014/main" id="{0D233320-7D52-D856-66B4-C47BCD4F63F1}"/>
              </a:ext>
            </a:extLst>
          </p:cNvPr>
          <p:cNvSpPr txBox="1"/>
          <p:nvPr/>
        </p:nvSpPr>
        <p:spPr>
          <a:xfrm>
            <a:off x="6427933" y="3242866"/>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Quick Drying</a:t>
            </a:r>
          </a:p>
        </p:txBody>
      </p:sp>
      <p:pic>
        <p:nvPicPr>
          <p:cNvPr id="16" name="Picture 15">
            <a:extLst>
              <a:ext uri="{FF2B5EF4-FFF2-40B4-BE49-F238E27FC236}">
                <a16:creationId xmlns:a16="http://schemas.microsoft.com/office/drawing/2014/main" id="{5F819405-755C-798A-BFA5-DE833AD938A0}"/>
              </a:ext>
            </a:extLst>
          </p:cNvPr>
          <p:cNvPicPr>
            <a:picLocks noChangeAspect="1"/>
          </p:cNvPicPr>
          <p:nvPr/>
        </p:nvPicPr>
        <p:blipFill rotWithShape="1">
          <a:blip r:embed="rId2"/>
          <a:srcRect l="73725" t="55156" r="14672" b="35564"/>
          <a:stretch/>
        </p:blipFill>
        <p:spPr>
          <a:xfrm>
            <a:off x="6427933" y="2772283"/>
            <a:ext cx="1060992" cy="477325"/>
          </a:xfrm>
          <a:prstGeom prst="rect">
            <a:avLst/>
          </a:prstGeom>
        </p:spPr>
      </p:pic>
      <p:sp>
        <p:nvSpPr>
          <p:cNvPr id="22" name="TextBox 21">
            <a:extLst>
              <a:ext uri="{FF2B5EF4-FFF2-40B4-BE49-F238E27FC236}">
                <a16:creationId xmlns:a16="http://schemas.microsoft.com/office/drawing/2014/main" id="{A9EC039E-8D0C-47CE-2480-BF39C1314482}"/>
              </a:ext>
            </a:extLst>
          </p:cNvPr>
          <p:cNvSpPr txBox="1"/>
          <p:nvPr/>
        </p:nvSpPr>
        <p:spPr>
          <a:xfrm>
            <a:off x="7009680" y="3229598"/>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Sun Reflect</a:t>
            </a:r>
          </a:p>
          <a:p>
            <a:r>
              <a:rPr lang="en-SG" sz="700" dirty="0">
                <a:latin typeface="Colour Sans" panose="02000503030000020004" pitchFamily="2" charset="0"/>
              </a:rPr>
              <a:t>Technology</a:t>
            </a:r>
          </a:p>
        </p:txBody>
      </p:sp>
      <p:pic>
        <p:nvPicPr>
          <p:cNvPr id="24" name="Picture 23">
            <a:extLst>
              <a:ext uri="{FF2B5EF4-FFF2-40B4-BE49-F238E27FC236}">
                <a16:creationId xmlns:a16="http://schemas.microsoft.com/office/drawing/2014/main" id="{3E47F7F7-1C5B-27C8-A08C-9087DA3E0C87}"/>
              </a:ext>
            </a:extLst>
          </p:cNvPr>
          <p:cNvPicPr>
            <a:picLocks noChangeAspect="1"/>
          </p:cNvPicPr>
          <p:nvPr/>
        </p:nvPicPr>
        <p:blipFill rotWithShape="1">
          <a:blip r:embed="rId3"/>
          <a:srcRect r="11393" b="15337"/>
          <a:stretch/>
        </p:blipFill>
        <p:spPr>
          <a:xfrm>
            <a:off x="4213868" y="482599"/>
            <a:ext cx="3447738" cy="1853040"/>
          </a:xfrm>
          <a:prstGeom prst="rect">
            <a:avLst/>
          </a:prstGeom>
        </p:spPr>
      </p:pic>
      <p:pic>
        <p:nvPicPr>
          <p:cNvPr id="25" name="Picture 24">
            <a:extLst>
              <a:ext uri="{FF2B5EF4-FFF2-40B4-BE49-F238E27FC236}">
                <a16:creationId xmlns:a16="http://schemas.microsoft.com/office/drawing/2014/main" id="{6F19AF93-94B0-1D31-EFD2-2EEE2DF4A3F3}"/>
              </a:ext>
            </a:extLst>
          </p:cNvPr>
          <p:cNvPicPr>
            <a:picLocks noChangeAspect="1"/>
          </p:cNvPicPr>
          <p:nvPr/>
        </p:nvPicPr>
        <p:blipFill>
          <a:blip r:embed="rId4"/>
          <a:stretch>
            <a:fillRect/>
          </a:stretch>
        </p:blipFill>
        <p:spPr>
          <a:xfrm>
            <a:off x="7708245" y="626561"/>
            <a:ext cx="1524000" cy="1524000"/>
          </a:xfrm>
          <a:prstGeom prst="rect">
            <a:avLst/>
          </a:prstGeom>
        </p:spPr>
      </p:pic>
    </p:spTree>
    <p:extLst>
      <p:ext uri="{BB962C8B-B14F-4D97-AF65-F5344CB8AC3E}">
        <p14:creationId xmlns:p14="http://schemas.microsoft.com/office/powerpoint/2010/main" val="22723931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2</a:t>
            </a:fld>
            <a:endParaRPr lang="en-US" dirty="0"/>
          </a:p>
        </p:txBody>
      </p:sp>
      <p:sp>
        <p:nvSpPr>
          <p:cNvPr id="3" name="Footer Placeholder 2">
            <a:extLst>
              <a:ext uri="{FF2B5EF4-FFF2-40B4-BE49-F238E27FC236}">
                <a16:creationId xmlns:a16="http://schemas.microsoft.com/office/drawing/2014/main" id="{E2190534-3CAA-D1B7-DDC1-F5334E469BAE}"/>
              </a:ext>
            </a:extLst>
          </p:cNvPr>
          <p:cNvSpPr>
            <a:spLocks noGrp="1"/>
          </p:cNvSpPr>
          <p:nvPr>
            <p:ph type="ftr" sz="quarter" idx="11"/>
          </p:nvPr>
        </p:nvSpPr>
        <p:spPr/>
        <p:txBody>
          <a:bodyPr/>
          <a:lstStyle/>
          <a:p>
            <a:r>
              <a:rPr lang="en-US" noProof="0"/>
              <a:t>Business unit | Footer</a:t>
            </a:r>
            <a:endParaRPr lang="en-US" noProof="0" dirty="0"/>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p:txBody>
          <a:bodyPr/>
          <a:lstStyle/>
          <a:p>
            <a:r>
              <a:rPr lang="en-SG" dirty="0"/>
              <a:t>INTERIOR WALL PAINTS</a:t>
            </a:r>
          </a:p>
        </p:txBody>
      </p:sp>
    </p:spTree>
    <p:extLst>
      <p:ext uri="{BB962C8B-B14F-4D97-AF65-F5344CB8AC3E}">
        <p14:creationId xmlns:p14="http://schemas.microsoft.com/office/powerpoint/2010/main" val="19954121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79" y="29810"/>
            <a:ext cx="9258095" cy="372542"/>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400" dirty="0"/>
              <a:t>Ext. Liquid Applied Vertical - Dulux </a:t>
            </a:r>
            <a:r>
              <a:rPr lang="en-US" sz="2400" dirty="0" err="1"/>
              <a:t>Aquatech</a:t>
            </a:r>
            <a:r>
              <a:rPr lang="en-US" sz="2400" dirty="0"/>
              <a:t> WTP BC</a:t>
            </a:r>
            <a:endParaRPr lang="en-SG" sz="2400" dirty="0">
              <a:latin typeface="Colour Sans" panose="02000503030000020004" pitchFamily="2" charset="0"/>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417194703"/>
              </p:ext>
            </p:extLst>
          </p:nvPr>
        </p:nvGraphicFramePr>
        <p:xfrm>
          <a:off x="0" y="468498"/>
          <a:ext cx="4106468" cy="2697480"/>
        </p:xfrm>
        <a:graphic>
          <a:graphicData uri="http://schemas.openxmlformats.org/drawingml/2006/table">
            <a:tbl>
              <a:tblPr firstRow="1" bandRow="1">
                <a:tableStyleId>{5940675A-B579-460E-94D1-54222C63F5DA}</a:tableStyleId>
              </a:tblPr>
              <a:tblGrid>
                <a:gridCol w="4106468">
                  <a:extLst>
                    <a:ext uri="{9D8B030D-6E8A-4147-A177-3AD203B41FA5}">
                      <a16:colId xmlns:a16="http://schemas.microsoft.com/office/drawing/2014/main" val="965239065"/>
                    </a:ext>
                  </a:extLst>
                </a:gridCol>
              </a:tblGrid>
              <a:tr h="163031">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631561">
                <a:tc>
                  <a:txBody>
                    <a:bodyPr/>
                    <a:lstStyle/>
                    <a:p>
                      <a:r>
                        <a:rPr lang="en-US" sz="900" dirty="0"/>
                        <a:t>Our house is our pride and biggest investment, built to last for generations. In our humid climate dampness and water seepage impacts the structure and safety of our house. </a:t>
                      </a:r>
                    </a:p>
                    <a:p>
                      <a:pPr marL="171450" indent="-171450">
                        <a:buFont typeface="Wingdings" panose="05000000000000000000" pitchFamily="2" charset="2"/>
                        <a:buChar char="ü"/>
                      </a:pPr>
                      <a:r>
                        <a:rPr lang="en-US" sz="900" dirty="0"/>
                        <a:t>I want to protect my house upfront by preventing the occurrence of dampness &amp; water seepage issues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163031">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748024">
                <a:tc>
                  <a:txBody>
                    <a:bodyPr/>
                    <a:lstStyle/>
                    <a:p>
                      <a:r>
                        <a:rPr lang="en-US" sz="900" b="1" dirty="0"/>
                        <a:t>Dulux </a:t>
                      </a:r>
                      <a:r>
                        <a:rPr lang="en-US" sz="900" b="1" dirty="0" err="1"/>
                        <a:t>Aquatech</a:t>
                      </a:r>
                      <a:r>
                        <a:rPr lang="en-US" sz="900" b="1" dirty="0"/>
                        <a:t> Waterproof Basecoat </a:t>
                      </a:r>
                      <a:r>
                        <a:rPr lang="en-US" sz="900" dirty="0"/>
                        <a:t>provides excellent water resistance. It provides 8 years of waterproofing protection and is tough enough for normal roof as well as sidewall usage. </a:t>
                      </a:r>
                    </a:p>
                    <a:p>
                      <a:r>
                        <a:rPr lang="en-US" sz="900" i="1" dirty="0"/>
                        <a:t>With unique </a:t>
                      </a:r>
                      <a:r>
                        <a:rPr lang="en-US" sz="900" b="1" i="1" dirty="0" err="1"/>
                        <a:t>DampResist</a:t>
                      </a:r>
                      <a:r>
                        <a:rPr lang="en-US" sz="900" b="1" i="1" dirty="0"/>
                        <a:t> Technology</a:t>
                      </a:r>
                      <a:r>
                        <a:rPr lang="en-US" sz="900" i="1" dirty="0"/>
                        <a:t>, forms a tough film that prevents water seepage, bridges cracks and prevents fungal attack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163031">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300498">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SG" sz="900" b="0" dirty="0">
                          <a:latin typeface="+mn-lt"/>
                          <a:ea typeface="Open Sans" panose="020B0606030504020204" pitchFamily="34" charset="0"/>
                          <a:cs typeface="Open Sans" panose="020B0606030504020204" pitchFamily="34" charset="0"/>
                        </a:rPr>
                        <a:t>Stay worry free when it comes to protection of my house from any dampness and seepages issu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0" y="3661454"/>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884457" y="2326026"/>
            <a:ext cx="1171575" cy="175936"/>
          </a:xfrm>
          <a:prstGeom prst="rect">
            <a:avLst/>
          </a:prstGeom>
          <a:noFill/>
        </p:spPr>
        <p:txBody>
          <a:bodyPr wrap="square" lIns="0" tIns="0" rIns="0" bIns="0" rtlCol="0">
            <a:noAutofit/>
          </a:bodyPr>
          <a:lstStyle/>
          <a:p>
            <a:pPr algn="ctr"/>
            <a:r>
              <a:rPr lang="en-SG" sz="1100" b="1" dirty="0">
                <a:latin typeface="Colour Sans" panose="02000503030000020004" pitchFamily="2" charset="0"/>
              </a:rPr>
              <a:t>Available in</a:t>
            </a:r>
          </a:p>
          <a:p>
            <a:pPr algn="ctr"/>
            <a:r>
              <a:rPr lang="en-SG" sz="1100" dirty="0">
                <a:latin typeface="Colour Sans" panose="02000503030000020004" pitchFamily="2" charset="0"/>
              </a:rPr>
              <a:t>1L, 4L &amp; 20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extLst>
              <p:ext uri="{D42A27DB-BD31-4B8C-83A1-F6EECF244321}">
                <p14:modId xmlns:p14="http://schemas.microsoft.com/office/powerpoint/2010/main" val="1863606429"/>
              </p:ext>
            </p:extLst>
          </p:nvPr>
        </p:nvGraphicFramePr>
        <p:xfrm>
          <a:off x="0" y="3893084"/>
          <a:ext cx="3837482" cy="991644"/>
        </p:xfrm>
        <a:graphic>
          <a:graphicData uri="http://schemas.openxmlformats.org/drawingml/2006/table">
            <a:tbl>
              <a:tblPr firstRow="1" bandRow="1">
                <a:tableStyleId>{2D5ABB26-0587-4C30-8999-92F81FD0307C}</a:tableStyleId>
              </a:tblPr>
              <a:tblGrid>
                <a:gridCol w="1011147">
                  <a:extLst>
                    <a:ext uri="{9D8B030D-6E8A-4147-A177-3AD203B41FA5}">
                      <a16:colId xmlns:a16="http://schemas.microsoft.com/office/drawing/2014/main" val="2714193207"/>
                    </a:ext>
                  </a:extLst>
                </a:gridCol>
                <a:gridCol w="2826335">
                  <a:extLst>
                    <a:ext uri="{9D8B030D-6E8A-4147-A177-3AD203B41FA5}">
                      <a16:colId xmlns:a16="http://schemas.microsoft.com/office/drawing/2014/main" val="402161752"/>
                    </a:ext>
                  </a:extLst>
                </a:gridCol>
              </a:tblGrid>
              <a:tr h="5626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Applica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Exterior Vertical Surface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5626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4.1-5.6 m2/</a:t>
                      </a:r>
                      <a:r>
                        <a:rPr lang="en-US" sz="900" dirty="0" err="1">
                          <a:latin typeface="Colour Sans" panose="02000503030000020004"/>
                        </a:rPr>
                        <a:t>lt</a:t>
                      </a:r>
                      <a:r>
                        <a:rPr lang="en-US" sz="900" dirty="0">
                          <a:latin typeface="Colour Sans" panose="02000503030000020004"/>
                        </a:rPr>
                        <a:t>/coat for smooth surface with low porosity</a:t>
                      </a:r>
                    </a:p>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2.7-4.1 m2/</a:t>
                      </a:r>
                      <a:r>
                        <a:rPr lang="en-US" sz="900" dirty="0" err="1">
                          <a:latin typeface="Colour Sans" panose="02000503030000020004"/>
                        </a:rPr>
                        <a:t>lt</a:t>
                      </a:r>
                      <a:r>
                        <a:rPr lang="en-US" sz="900" dirty="0">
                          <a:latin typeface="Colour Sans" panose="02000503030000020004"/>
                        </a:rPr>
                        <a:t>/coat for absorbent surface with high porosity</a:t>
                      </a:r>
                      <a:endParaRPr lang="en-US" sz="900" kern="1200" noProof="0" dirty="0">
                        <a:solidFill>
                          <a:schemeClr val="tx1"/>
                        </a:solidFill>
                        <a:latin typeface="Colour Sans" panose="02000503030000020004"/>
                        <a:ea typeface="+mn-ea"/>
                        <a:cs typeface="+mn-cs"/>
                      </a:endParaRPr>
                    </a:p>
                    <a:p>
                      <a:pPr marL="0" marR="0" lvl="0" indent="85725" algn="l" defTabSz="914400" rtl="0" eaLnBrk="1" fontAlgn="b" latinLnBrk="0" hangingPunct="1">
                        <a:lnSpc>
                          <a:spcPct val="100000"/>
                        </a:lnSpc>
                        <a:spcBef>
                          <a:spcPts val="0"/>
                        </a:spcBef>
                        <a:spcAft>
                          <a:spcPts val="0"/>
                        </a:spcAft>
                        <a:buClrTx/>
                        <a:buSzTx/>
                        <a:buFontTx/>
                        <a:buNone/>
                        <a:tabLst/>
                        <a:defRPr/>
                      </a:pPr>
                      <a:r>
                        <a:rPr lang="en-US" sz="900" kern="1200" noProof="0" dirty="0">
                          <a:solidFill>
                            <a:schemeClr val="tx1"/>
                          </a:solidFill>
                          <a:latin typeface="Colour Sans" panose="02000503030000020004"/>
                          <a:ea typeface="+mn-ea"/>
                          <a:cs typeface="+mn-cs"/>
                        </a:rPr>
                        <a:t>Min. 1 coat (recommend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305844">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Finis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a:ln>
                            <a:noFill/>
                          </a:ln>
                          <a:solidFill>
                            <a:srgbClr val="000000"/>
                          </a:solidFill>
                          <a:effectLst/>
                          <a:uLnTx/>
                          <a:uFillTx/>
                          <a:latin typeface="Colour Sans" panose="02000503030000020004"/>
                          <a:ea typeface="+mn-ea"/>
                          <a:cs typeface="+mn-cs"/>
                        </a:rPr>
                        <a:t>NA</a:t>
                      </a:r>
                      <a:endPar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58186">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Whit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extLst>
              <p:ext uri="{D42A27DB-BD31-4B8C-83A1-F6EECF244321}">
                <p14:modId xmlns:p14="http://schemas.microsoft.com/office/powerpoint/2010/main" val="1145648610"/>
              </p:ext>
            </p:extLst>
          </p:nvPr>
        </p:nvGraphicFramePr>
        <p:xfrm>
          <a:off x="3909835" y="3901403"/>
          <a:ext cx="3268857" cy="854484"/>
        </p:xfrm>
        <a:graphic>
          <a:graphicData uri="http://schemas.openxmlformats.org/drawingml/2006/table">
            <a:tbl>
              <a:tblPr firstRow="1" bandRow="1">
                <a:tableStyleId>{2D5ABB26-0587-4C30-8999-92F81FD0307C}</a:tableStyleId>
              </a:tblPr>
              <a:tblGrid>
                <a:gridCol w="1333444">
                  <a:extLst>
                    <a:ext uri="{9D8B030D-6E8A-4147-A177-3AD203B41FA5}">
                      <a16:colId xmlns:a16="http://schemas.microsoft.com/office/drawing/2014/main" val="3738590716"/>
                    </a:ext>
                  </a:extLst>
                </a:gridCol>
                <a:gridCol w="1935413">
                  <a:extLst>
                    <a:ext uri="{9D8B030D-6E8A-4147-A177-3AD203B41FA5}">
                      <a16:colId xmlns:a16="http://schemas.microsoft.com/office/drawing/2014/main" val="3750538898"/>
                    </a:ext>
                  </a:extLst>
                </a:gridCol>
              </a:tblGrid>
              <a:tr h="188875">
                <a:tc>
                  <a:txBody>
                    <a:bodyPr/>
                    <a:lstStyle/>
                    <a:p>
                      <a:pPr marL="0" indent="85725" algn="l" fontAlgn="b"/>
                      <a:r>
                        <a:rPr lang="en-SG" sz="900" b="0" i="0" u="none" strike="noStrike">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proofing Substrat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Vertical Wall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287859">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Performanc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alibri" panose="020F0502020204030204" pitchFamily="34" charset="0"/>
                          <a:cs typeface="Calibri" panose="020F0502020204030204" pitchFamily="34" charset="0"/>
                        </a:rPr>
                        <a:t>It provides 8 years of waterproofing protection </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188875">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icroorganism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dirty="0">
                          <a:latin typeface="Calibri" panose="020F0502020204030204" pitchFamily="34" charset="0"/>
                          <a:cs typeface="Calibri" panose="020F0502020204030204" pitchFamily="34" charset="0"/>
                        </a:rPr>
                        <a:t>  </a:t>
                      </a:r>
                      <a:r>
                        <a:rPr lang="en-US" sz="900" kern="1200" dirty="0">
                          <a:solidFill>
                            <a:schemeClr val="tx1"/>
                          </a:solidFill>
                          <a:latin typeface="Calibri" panose="020F0502020204030204" pitchFamily="34" charset="0"/>
                          <a:ea typeface="+mn-ea"/>
                          <a:cs typeface="Calibri" panose="020F0502020204030204" pitchFamily="34" charset="0"/>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188875">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Crack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err="1">
                          <a:ln>
                            <a:noFill/>
                          </a:ln>
                          <a:solidFill>
                            <a:srgbClr val="000000"/>
                          </a:solidFill>
                          <a:effectLst/>
                          <a:uLnTx/>
                          <a:uFillTx/>
                          <a:latin typeface="Colour Sans" panose="02000503030000020004" pitchFamily="2" charset="0"/>
                          <a:ea typeface="+mn-ea"/>
                          <a:cs typeface="+mn-cs"/>
                        </a:rPr>
                        <a:t>Upto</a:t>
                      </a: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 2mm with WS Max and PF</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pic>
        <p:nvPicPr>
          <p:cNvPr id="24" name="Picture 23">
            <a:extLst>
              <a:ext uri="{FF2B5EF4-FFF2-40B4-BE49-F238E27FC236}">
                <a16:creationId xmlns:a16="http://schemas.microsoft.com/office/drawing/2014/main" id="{3E47F7F7-1C5B-27C8-A08C-9087DA3E0C87}"/>
              </a:ext>
            </a:extLst>
          </p:cNvPr>
          <p:cNvPicPr>
            <a:picLocks noChangeAspect="1"/>
          </p:cNvPicPr>
          <p:nvPr/>
        </p:nvPicPr>
        <p:blipFill rotWithShape="1">
          <a:blip r:embed="rId2"/>
          <a:srcRect r="11393" b="15337"/>
          <a:stretch/>
        </p:blipFill>
        <p:spPr>
          <a:xfrm>
            <a:off x="4213868" y="482599"/>
            <a:ext cx="3447738" cy="1853040"/>
          </a:xfrm>
          <a:prstGeom prst="rect">
            <a:avLst/>
          </a:prstGeom>
        </p:spPr>
      </p:pic>
      <p:pic>
        <p:nvPicPr>
          <p:cNvPr id="8" name="Picture 7" descr="A blue and silver container with waterproof coating&#10;&#10;Description automatically generated">
            <a:extLst>
              <a:ext uri="{FF2B5EF4-FFF2-40B4-BE49-F238E27FC236}">
                <a16:creationId xmlns:a16="http://schemas.microsoft.com/office/drawing/2014/main" id="{6F14BD76-7586-4BC7-1961-89FCC5536010}"/>
              </a:ext>
            </a:extLst>
          </p:cNvPr>
          <p:cNvPicPr>
            <a:picLocks noChangeAspect="1"/>
          </p:cNvPicPr>
          <p:nvPr/>
        </p:nvPicPr>
        <p:blipFill>
          <a:blip r:embed="rId3"/>
          <a:stretch>
            <a:fillRect/>
          </a:stretch>
        </p:blipFill>
        <p:spPr>
          <a:xfrm>
            <a:off x="7551246" y="677847"/>
            <a:ext cx="1652297" cy="148190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97908DE0-5339-5455-1701-B341F7B96218}"/>
              </a:ext>
            </a:extLst>
          </p:cNvPr>
          <p:cNvPicPr>
            <a:picLocks noChangeAspect="1"/>
          </p:cNvPicPr>
          <p:nvPr/>
        </p:nvPicPr>
        <p:blipFill rotWithShape="1">
          <a:blip r:embed="rId4"/>
          <a:srcRect r="7527" b="68123"/>
          <a:stretch/>
        </p:blipFill>
        <p:spPr>
          <a:xfrm>
            <a:off x="3776953" y="2051112"/>
            <a:ext cx="3363867" cy="1639614"/>
          </a:xfrm>
          <a:prstGeom prst="rect">
            <a:avLst/>
          </a:prstGeom>
        </p:spPr>
      </p:pic>
      <p:pic>
        <p:nvPicPr>
          <p:cNvPr id="23" name="Picture 22" descr="A screenshot of a cell phone&#10;&#10;Description automatically generated">
            <a:extLst>
              <a:ext uri="{FF2B5EF4-FFF2-40B4-BE49-F238E27FC236}">
                <a16:creationId xmlns:a16="http://schemas.microsoft.com/office/drawing/2014/main" id="{2983A90F-A636-38FE-4634-A06A6FC3C2C9}"/>
              </a:ext>
            </a:extLst>
          </p:cNvPr>
          <p:cNvPicPr>
            <a:picLocks noChangeAspect="1"/>
          </p:cNvPicPr>
          <p:nvPr/>
        </p:nvPicPr>
        <p:blipFill rotWithShape="1">
          <a:blip r:embed="rId4"/>
          <a:srcRect t="30651"/>
          <a:stretch/>
        </p:blipFill>
        <p:spPr>
          <a:xfrm>
            <a:off x="7124618" y="2846613"/>
            <a:ext cx="2264415" cy="2220378"/>
          </a:xfrm>
          <a:prstGeom prst="rect">
            <a:avLst/>
          </a:prstGeom>
        </p:spPr>
      </p:pic>
    </p:spTree>
    <p:extLst>
      <p:ext uri="{BB962C8B-B14F-4D97-AF65-F5344CB8AC3E}">
        <p14:creationId xmlns:p14="http://schemas.microsoft.com/office/powerpoint/2010/main" val="18310390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3" y="-50977"/>
            <a:ext cx="9025747" cy="36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400" dirty="0"/>
              <a:t>Pre-Treatment Coat - Dulux </a:t>
            </a:r>
            <a:r>
              <a:rPr lang="en-US" sz="2400" dirty="0" err="1"/>
              <a:t>Aquatech</a:t>
            </a:r>
            <a:r>
              <a:rPr lang="en-US" sz="2400" dirty="0"/>
              <a:t> Pre-Treatment Coat</a:t>
            </a:r>
            <a:endParaRPr lang="en-SG" sz="2400" dirty="0">
              <a:latin typeface="Colour Sans" panose="02000503030000020004" pitchFamily="2" charset="0"/>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nvGraphicFramePr>
        <p:xfrm>
          <a:off x="-5705" y="344536"/>
          <a:ext cx="4106468" cy="3205094"/>
        </p:xfrm>
        <a:graphic>
          <a:graphicData uri="http://schemas.openxmlformats.org/drawingml/2006/table">
            <a:tbl>
              <a:tblPr firstRow="1" bandRow="1">
                <a:tableStyleId>{5940675A-B579-460E-94D1-54222C63F5DA}</a:tableStyleId>
              </a:tblPr>
              <a:tblGrid>
                <a:gridCol w="4106468">
                  <a:extLst>
                    <a:ext uri="{9D8B030D-6E8A-4147-A177-3AD203B41FA5}">
                      <a16:colId xmlns:a16="http://schemas.microsoft.com/office/drawing/2014/main" val="965239065"/>
                    </a:ext>
                  </a:extLst>
                </a:gridCol>
              </a:tblGrid>
              <a:tr h="247274">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1003643">
                <a:tc>
                  <a:txBody>
                    <a:bodyPr/>
                    <a:lstStyle/>
                    <a:p>
                      <a:r>
                        <a:rPr lang="en-US" sz="900" dirty="0"/>
                        <a:t>Our house is our pride and biggest investment, built to last for generations. In our humid climate dampness and water seepage impacts the structure and safety of our house. </a:t>
                      </a:r>
                    </a:p>
                    <a:p>
                      <a:pPr marL="171450" indent="-171450">
                        <a:buFont typeface="Wingdings" panose="05000000000000000000" pitchFamily="2" charset="2"/>
                        <a:buChar char="ü"/>
                      </a:pPr>
                      <a:r>
                        <a:rPr lang="en-US" sz="900" dirty="0"/>
                        <a:t>How do I stop dampness from causing fungus and </a:t>
                      </a:r>
                      <a:r>
                        <a:rPr lang="en-US" sz="900" dirty="0" err="1"/>
                        <a:t>mould</a:t>
                      </a:r>
                      <a:r>
                        <a:rPr lang="en-US" sz="900" dirty="0"/>
                        <a:t> in the interior and exterior of my hou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47274">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946676">
                <a:tc>
                  <a:txBody>
                    <a:bodyPr/>
                    <a:lstStyle/>
                    <a:p>
                      <a:r>
                        <a:rPr lang="en-US" sz="900" b="1" dirty="0"/>
                        <a:t>Dulux </a:t>
                      </a:r>
                      <a:r>
                        <a:rPr lang="en-US" sz="900" b="1" dirty="0" err="1"/>
                        <a:t>Aquashield</a:t>
                      </a:r>
                      <a:r>
                        <a:rPr lang="en-US" sz="900" b="1" dirty="0"/>
                        <a:t> </a:t>
                      </a:r>
                      <a:r>
                        <a:rPr lang="en-US" sz="900" b="1" dirty="0">
                          <a:solidFill>
                            <a:schemeClr val="tx1"/>
                          </a:solidFill>
                        </a:rPr>
                        <a:t>Pre Treatment Coat </a:t>
                      </a:r>
                      <a:r>
                        <a:rPr lang="en-US" sz="900" b="0" dirty="0">
                          <a:solidFill>
                            <a:schemeClr val="tx1"/>
                          </a:solidFill>
                        </a:rPr>
                        <a:t>is a </a:t>
                      </a:r>
                      <a:r>
                        <a:rPr lang="en-US" sz="900" dirty="0">
                          <a:solidFill>
                            <a:schemeClr val="tx1"/>
                          </a:solidFill>
                        </a:rPr>
                        <a:t>w</a:t>
                      </a:r>
                      <a:r>
                        <a:rPr lang="en-US" sz="900" b="0" dirty="0">
                          <a:solidFill>
                            <a:schemeClr val="tx1"/>
                          </a:solidFill>
                        </a:rPr>
                        <a:t>ater based, acrylic coating for application on surfaces before painting to reduce and prevent growth of fungi and algae on surfaces</a:t>
                      </a:r>
                      <a:endParaRPr lang="en-US" sz="900" dirty="0"/>
                    </a:p>
                    <a:p>
                      <a:r>
                        <a:rPr lang="en-US" sz="900" i="1" dirty="0"/>
                        <a:t>With </a:t>
                      </a:r>
                      <a:r>
                        <a:rPr lang="en-US" sz="900" b="1" i="1" dirty="0" err="1"/>
                        <a:t>FungiClean</a:t>
                      </a:r>
                      <a:r>
                        <a:rPr lang="en-US" sz="900" b="1" i="1" dirty="0"/>
                        <a:t> Technology, </a:t>
                      </a:r>
                      <a:r>
                        <a:rPr lang="en-US" sz="900" b="0" i="1" dirty="0"/>
                        <a:t>it reduces and prevents growth of fungi &amp; algae on surfac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47274">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477535">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SG" sz="900" b="0" dirty="0">
                          <a:latin typeface="+mn-lt"/>
                          <a:ea typeface="Open Sans" panose="020B0606030504020204" pitchFamily="34" charset="0"/>
                          <a:cs typeface="Open Sans" panose="020B0606030504020204" pitchFamily="34" charset="0"/>
                        </a:rPr>
                        <a:t>Peace of mind that my house is protected from algal &amp; fungal infection and my family is in a safe environ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41332" y="3523826"/>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569870" y="2079413"/>
            <a:ext cx="1409558" cy="169745"/>
          </a:xfrm>
          <a:prstGeom prst="rect">
            <a:avLst/>
          </a:prstGeom>
          <a:noFill/>
        </p:spPr>
        <p:txBody>
          <a:bodyPr wrap="square" lIns="0" tIns="0" rIns="0" bIns="0" rtlCol="0">
            <a:noAutofit/>
          </a:bodyPr>
          <a:lstStyle/>
          <a:p>
            <a:pPr algn="ctr"/>
            <a:r>
              <a:rPr lang="en-SG" sz="1100" b="1" dirty="0">
                <a:latin typeface="Colour Sans" panose="02000503030000020004" pitchFamily="2" charset="0"/>
              </a:rPr>
              <a:t>Available in</a:t>
            </a:r>
          </a:p>
          <a:p>
            <a:pPr algn="ctr"/>
            <a:r>
              <a:rPr lang="en-SG" sz="1100" dirty="0">
                <a:latin typeface="Colour Sans" panose="02000503030000020004" pitchFamily="2" charset="0"/>
              </a:rPr>
              <a:t>1L</a:t>
            </a:r>
          </a:p>
        </p:txBody>
      </p:sp>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nvGraphicFramePr>
        <p:xfrm>
          <a:off x="3523380" y="3728254"/>
          <a:ext cx="3729701" cy="1097280"/>
        </p:xfrm>
        <a:graphic>
          <a:graphicData uri="http://schemas.openxmlformats.org/drawingml/2006/table">
            <a:tbl>
              <a:tblPr firstRow="1" bandRow="1">
                <a:tableStyleId>{2D5ABB26-0587-4C30-8999-92F81FD0307C}</a:tableStyleId>
              </a:tblPr>
              <a:tblGrid>
                <a:gridCol w="1521433">
                  <a:extLst>
                    <a:ext uri="{9D8B030D-6E8A-4147-A177-3AD203B41FA5}">
                      <a16:colId xmlns:a16="http://schemas.microsoft.com/office/drawing/2014/main" val="3738590716"/>
                    </a:ext>
                  </a:extLst>
                </a:gridCol>
                <a:gridCol w="2208268">
                  <a:extLst>
                    <a:ext uri="{9D8B030D-6E8A-4147-A177-3AD203B41FA5}">
                      <a16:colId xmlns:a16="http://schemas.microsoft.com/office/drawing/2014/main" val="3750538898"/>
                    </a:ext>
                  </a:extLst>
                </a:gridCol>
              </a:tblGrid>
              <a:tr h="0">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proofing Substrat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Vertical Walls &amp; Horizontal</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0">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Performanc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It’s unique film forming property retains the preservatives much longer for protection against bio-attacks due to harsh weather conditions, thereby enhancing performance of expensive top coat material</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icroorganism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dirty="0">
                          <a:solidFill>
                            <a:schemeClr val="tx1"/>
                          </a:solidFill>
                          <a:latin typeface="Calibri" panose="020F0502020204030204" pitchFamily="34" charset="0"/>
                          <a:ea typeface="+mn-ea"/>
                          <a:cs typeface="Calibri" panose="020F0502020204030204" pitchFamily="34" charset="0"/>
                        </a:rPr>
                        <a:t>   Prevents algae &amp; fungi and its reoccurrenc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0">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Crack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3" name="TextBox 2">
            <a:extLst>
              <a:ext uri="{FF2B5EF4-FFF2-40B4-BE49-F238E27FC236}">
                <a16:creationId xmlns:a16="http://schemas.microsoft.com/office/drawing/2014/main" id="{AFD677D1-9819-3FCB-8A3D-13672FC713BF}"/>
              </a:ext>
            </a:extLst>
          </p:cNvPr>
          <p:cNvSpPr txBox="1"/>
          <p:nvPr/>
        </p:nvSpPr>
        <p:spPr>
          <a:xfrm>
            <a:off x="7253081" y="2444335"/>
            <a:ext cx="1879784" cy="900015"/>
          </a:xfrm>
          <a:prstGeom prst="rect">
            <a:avLst/>
          </a:prstGeom>
          <a:noFill/>
        </p:spPr>
        <p:txBody>
          <a:bodyPr wrap="square" lIns="0" tIns="0" rIns="0" bIns="0" rtlCol="0">
            <a:noAutofit/>
          </a:bodyPr>
          <a:lstStyle/>
          <a:p>
            <a:r>
              <a:rPr lang="en-SG" sz="1100" b="1" dirty="0">
                <a:latin typeface="Colour Sans" panose="02000503030000020004" pitchFamily="2" charset="0"/>
              </a:rPr>
              <a:t>Other benefits:</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Antimicrobial properties help to destroy fungal and algal infection from the root</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Protection against bio-attacks due to harsh weather conditions</a:t>
            </a:r>
          </a:p>
          <a:p>
            <a:endParaRPr lang="en-US" sz="1100" b="0" dirty="0">
              <a:latin typeface="Calibri" panose="020F0502020204030204" pitchFamily="34" charset="0"/>
              <a:cs typeface="Calibri" panose="020F0502020204030204" pitchFamily="34" charset="0"/>
            </a:endParaRPr>
          </a:p>
        </p:txBody>
      </p:sp>
      <p:pic>
        <p:nvPicPr>
          <p:cNvPr id="16" name="Picture 15">
            <a:extLst>
              <a:ext uri="{FF2B5EF4-FFF2-40B4-BE49-F238E27FC236}">
                <a16:creationId xmlns:a16="http://schemas.microsoft.com/office/drawing/2014/main" id="{059ED6E0-C914-466B-BC8C-11530310E5FD}"/>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Lst>
          </a:blip>
          <a:stretch>
            <a:fillRect/>
          </a:stretch>
        </p:blipFill>
        <p:spPr>
          <a:xfrm>
            <a:off x="4256658" y="2200417"/>
            <a:ext cx="913972" cy="1132078"/>
          </a:xfrm>
          <a:prstGeom prst="rect">
            <a:avLst/>
          </a:prstGeom>
          <a:effectLst>
            <a:outerShdw blurRad="50800" dist="38100" dir="2700000" algn="tl" rotWithShape="0">
              <a:prstClr val="black">
                <a:alpha val="40000"/>
              </a:prstClr>
            </a:outerShdw>
          </a:effectLst>
        </p:spPr>
      </p:pic>
      <p:pic>
        <p:nvPicPr>
          <p:cNvPr id="22" name="Picture 21">
            <a:extLst>
              <a:ext uri="{FF2B5EF4-FFF2-40B4-BE49-F238E27FC236}">
                <a16:creationId xmlns:a16="http://schemas.microsoft.com/office/drawing/2014/main" id="{C3725449-0C9A-4019-803A-D149C2850F90}"/>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5285371" y="2370396"/>
            <a:ext cx="665724" cy="629146"/>
          </a:xfrm>
          <a:prstGeom prst="rect">
            <a:avLst/>
          </a:prstGeom>
          <a:effectLst>
            <a:outerShdw blurRad="50800" dist="38100" dir="2700000" algn="tl" rotWithShape="0">
              <a:prstClr val="black">
                <a:alpha val="40000"/>
              </a:prstClr>
            </a:outerShdw>
          </a:effectLst>
        </p:spPr>
      </p:pic>
      <p:pic>
        <p:nvPicPr>
          <p:cNvPr id="23" name="Picture 22">
            <a:extLst>
              <a:ext uri="{FF2B5EF4-FFF2-40B4-BE49-F238E27FC236}">
                <a16:creationId xmlns:a16="http://schemas.microsoft.com/office/drawing/2014/main" id="{0E92D11B-139A-4517-BD97-55A4743DDF1B}"/>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9333" b="89333" l="9211" r="97368">
                        <a14:foregroundMark x1="39474" y1="14667" x2="51316" y2="14667"/>
                        <a14:foregroundMark x1="43421" y1="12000" x2="97368" y2="56000"/>
                        <a14:foregroundMark x1="97368" y1="56000" x2="42105" y2="10667"/>
                        <a14:foregroundMark x1="42105" y1="10667" x2="23684" y2="21333"/>
                        <a14:foregroundMark x1="28947" y1="82667" x2="72368" y2="86667"/>
                        <a14:foregroundMark x1="27632" y1="82667" x2="73684" y2="80000"/>
                        <a14:foregroundMark x1="32895" y1="85333" x2="68421" y2="76000"/>
                      </a14:backgroundRemoval>
                    </a14:imgEffect>
                  </a14:imgLayer>
                </a14:imgProps>
              </a:ext>
            </a:extLst>
          </a:blip>
          <a:stretch>
            <a:fillRect/>
          </a:stretch>
        </p:blipFill>
        <p:spPr>
          <a:xfrm>
            <a:off x="6180296" y="2428091"/>
            <a:ext cx="535297" cy="528253"/>
          </a:xfrm>
          <a:prstGeom prst="rect">
            <a:avLst/>
          </a:prstGeom>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9B14891E-A3E0-BEEF-4206-19321EB3F632}"/>
              </a:ext>
            </a:extLst>
          </p:cNvPr>
          <p:cNvPicPr>
            <a:picLocks noChangeAspect="1"/>
          </p:cNvPicPr>
          <p:nvPr/>
        </p:nvPicPr>
        <p:blipFill>
          <a:blip r:embed="rId8"/>
          <a:stretch>
            <a:fillRect/>
          </a:stretch>
        </p:blipFill>
        <p:spPr>
          <a:xfrm>
            <a:off x="7512649" y="398346"/>
            <a:ext cx="1524000" cy="1524000"/>
          </a:xfrm>
          <a:prstGeom prst="rect">
            <a:avLst/>
          </a:prstGeom>
        </p:spPr>
      </p:pic>
      <p:sp>
        <p:nvSpPr>
          <p:cNvPr id="7" name="TextBox 6">
            <a:extLst>
              <a:ext uri="{FF2B5EF4-FFF2-40B4-BE49-F238E27FC236}">
                <a16:creationId xmlns:a16="http://schemas.microsoft.com/office/drawing/2014/main" id="{F0D0D48F-C2F1-5C2F-A74B-6941655E1B91}"/>
              </a:ext>
            </a:extLst>
          </p:cNvPr>
          <p:cNvSpPr txBox="1"/>
          <p:nvPr/>
        </p:nvSpPr>
        <p:spPr>
          <a:xfrm>
            <a:off x="5450616" y="2999542"/>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Anti-Microbial </a:t>
            </a:r>
          </a:p>
          <a:p>
            <a:r>
              <a:rPr lang="en-SG" sz="700" dirty="0">
                <a:latin typeface="Colour Sans" panose="02000503030000020004" pitchFamily="2" charset="0"/>
              </a:rPr>
              <a:t>Pack</a:t>
            </a:r>
          </a:p>
        </p:txBody>
      </p:sp>
      <p:sp>
        <p:nvSpPr>
          <p:cNvPr id="8" name="TextBox 7">
            <a:extLst>
              <a:ext uri="{FF2B5EF4-FFF2-40B4-BE49-F238E27FC236}">
                <a16:creationId xmlns:a16="http://schemas.microsoft.com/office/drawing/2014/main" id="{699DB1B2-106B-BB89-5F83-4BF92C541F44}"/>
              </a:ext>
            </a:extLst>
          </p:cNvPr>
          <p:cNvSpPr txBox="1"/>
          <p:nvPr/>
        </p:nvSpPr>
        <p:spPr>
          <a:xfrm>
            <a:off x="6330892" y="2999542"/>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Surface Prep </a:t>
            </a:r>
          </a:p>
          <a:p>
            <a:r>
              <a:rPr lang="en-SG" sz="700" dirty="0">
                <a:latin typeface="Colour Sans" panose="02000503030000020004" pitchFamily="2" charset="0"/>
              </a:rPr>
              <a:t>Wash</a:t>
            </a:r>
          </a:p>
        </p:txBody>
      </p:sp>
      <p:sp>
        <p:nvSpPr>
          <p:cNvPr id="9" name="TextBox 8">
            <a:extLst>
              <a:ext uri="{FF2B5EF4-FFF2-40B4-BE49-F238E27FC236}">
                <a16:creationId xmlns:a16="http://schemas.microsoft.com/office/drawing/2014/main" id="{E637E12D-C9AA-E991-565C-DB7EF37E6811}"/>
              </a:ext>
            </a:extLst>
          </p:cNvPr>
          <p:cNvSpPr txBox="1"/>
          <p:nvPr/>
        </p:nvSpPr>
        <p:spPr>
          <a:xfrm>
            <a:off x="7332992" y="4536399"/>
            <a:ext cx="914400" cy="914400"/>
          </a:xfrm>
          <a:prstGeom prst="rect">
            <a:avLst/>
          </a:prstGeom>
          <a:noFill/>
        </p:spPr>
        <p:txBody>
          <a:bodyPr wrap="none" lIns="0" tIns="0" rIns="0" bIns="0" rtlCol="0">
            <a:noAutofit/>
          </a:bodyPr>
          <a:lstStyle/>
          <a:p>
            <a:r>
              <a:rPr lang="en-US" sz="900" b="0" i="1" dirty="0"/>
              <a:t>Similar Technology available in LK </a:t>
            </a:r>
          </a:p>
          <a:p>
            <a:r>
              <a:rPr lang="en-US" sz="900" b="0" i="1" dirty="0"/>
              <a:t>(Dulux </a:t>
            </a:r>
            <a:r>
              <a:rPr lang="en-US" sz="900" b="0" i="1" dirty="0" err="1"/>
              <a:t>Aquatech</a:t>
            </a:r>
            <a:r>
              <a:rPr lang="en-US" sz="900" b="0" i="1" dirty="0"/>
              <a:t> </a:t>
            </a:r>
            <a:r>
              <a:rPr lang="en-US" sz="900" i="1" dirty="0"/>
              <a:t>Fungicidal wash</a:t>
            </a:r>
            <a:r>
              <a:rPr lang="en-US" sz="900" b="0" i="1" dirty="0"/>
              <a:t>), </a:t>
            </a:r>
          </a:p>
          <a:p>
            <a:r>
              <a:rPr lang="en-US" sz="900" i="1" dirty="0"/>
              <a:t>PK (</a:t>
            </a:r>
            <a:r>
              <a:rPr lang="en-US" sz="900" b="0" i="1" dirty="0" err="1"/>
              <a:t>Aquashield</a:t>
            </a:r>
            <a:r>
              <a:rPr lang="en-US" sz="900" b="0" i="1" dirty="0"/>
              <a:t> Pre-Treatment </a:t>
            </a:r>
          </a:p>
          <a:p>
            <a:r>
              <a:rPr lang="en-US" sz="900" b="0" i="1" dirty="0"/>
              <a:t>Coat)</a:t>
            </a:r>
          </a:p>
        </p:txBody>
      </p:sp>
      <p:graphicFrame>
        <p:nvGraphicFramePr>
          <p:cNvPr id="10" name="Table 9">
            <a:extLst>
              <a:ext uri="{FF2B5EF4-FFF2-40B4-BE49-F238E27FC236}">
                <a16:creationId xmlns:a16="http://schemas.microsoft.com/office/drawing/2014/main" id="{53137130-F423-E0A0-0EEF-CA7EEACD4D19}"/>
              </a:ext>
            </a:extLst>
          </p:cNvPr>
          <p:cNvGraphicFramePr>
            <a:graphicFrameLocks noGrp="1"/>
          </p:cNvGraphicFramePr>
          <p:nvPr/>
        </p:nvGraphicFramePr>
        <p:xfrm>
          <a:off x="0" y="3725505"/>
          <a:ext cx="3482048" cy="1097280"/>
        </p:xfrm>
        <a:graphic>
          <a:graphicData uri="http://schemas.openxmlformats.org/drawingml/2006/table">
            <a:tbl>
              <a:tblPr firstRow="1" bandRow="1">
                <a:tableStyleId>{2D5ABB26-0587-4C30-8999-92F81FD0307C}</a:tableStyleId>
              </a:tblPr>
              <a:tblGrid>
                <a:gridCol w="1104187">
                  <a:extLst>
                    <a:ext uri="{9D8B030D-6E8A-4147-A177-3AD203B41FA5}">
                      <a16:colId xmlns:a16="http://schemas.microsoft.com/office/drawing/2014/main" val="2714193207"/>
                    </a:ext>
                  </a:extLst>
                </a:gridCol>
                <a:gridCol w="2377861">
                  <a:extLst>
                    <a:ext uri="{9D8B030D-6E8A-4147-A177-3AD203B41FA5}">
                      <a16:colId xmlns:a16="http://schemas.microsoft.com/office/drawing/2014/main" val="402161752"/>
                    </a:ext>
                  </a:extLst>
                </a:gridCol>
              </a:tblGrid>
              <a:tr h="238775">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Applica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Exterior durabl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372783">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111 </a:t>
                      </a:r>
                      <a:r>
                        <a:rPr lang="en-US" sz="900" dirty="0" err="1">
                          <a:latin typeface="Colour Sans" panose="02000503030000020004"/>
                        </a:rPr>
                        <a:t>sqmt</a:t>
                      </a:r>
                      <a:r>
                        <a:rPr lang="en-US" sz="900" dirty="0">
                          <a:latin typeface="Colour Sans" panose="02000503030000020004"/>
                        </a:rPr>
                        <a:t>/</a:t>
                      </a:r>
                      <a:r>
                        <a:rPr lang="en-US" sz="900" dirty="0" err="1">
                          <a:latin typeface="Colour Sans" panose="02000503030000020004"/>
                        </a:rPr>
                        <a:t>lt</a:t>
                      </a:r>
                      <a:r>
                        <a:rPr lang="en-US" sz="900" dirty="0">
                          <a:latin typeface="Colour Sans" panose="02000503030000020004"/>
                        </a:rPr>
                        <a:t>/coat </a:t>
                      </a:r>
                    </a:p>
                    <a:p>
                      <a:pPr marL="0" marR="0" lvl="0" indent="85725" algn="l" defTabSz="914400" rtl="0" eaLnBrk="1" fontAlgn="b" latinLnBrk="0" hangingPunct="1">
                        <a:lnSpc>
                          <a:spcPct val="100000"/>
                        </a:lnSpc>
                        <a:spcBef>
                          <a:spcPts val="0"/>
                        </a:spcBef>
                        <a:spcAft>
                          <a:spcPts val="0"/>
                        </a:spcAft>
                        <a:buClrTx/>
                        <a:buSzTx/>
                        <a:buFontTx/>
                        <a:buNone/>
                        <a:tabLst/>
                        <a:defRPr/>
                      </a:pPr>
                      <a:r>
                        <a:rPr lang="en-US" sz="900" kern="1200" noProof="0" dirty="0">
                          <a:solidFill>
                            <a:schemeClr val="tx1"/>
                          </a:solidFill>
                          <a:latin typeface="Colour Sans" panose="02000503030000020004"/>
                          <a:ea typeface="+mn-ea"/>
                          <a:cs typeface="+mn-cs"/>
                        </a:rPr>
                        <a:t>Min. 1 coat (recommend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38775">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Finis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46947">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pic>
        <p:nvPicPr>
          <p:cNvPr id="12" name="Picture 11">
            <a:extLst>
              <a:ext uri="{FF2B5EF4-FFF2-40B4-BE49-F238E27FC236}">
                <a16:creationId xmlns:a16="http://schemas.microsoft.com/office/drawing/2014/main" id="{CC4B8BB3-A9BB-8C42-C87F-2293DB9B9524}"/>
              </a:ext>
            </a:extLst>
          </p:cNvPr>
          <p:cNvPicPr>
            <a:picLocks noChangeAspect="1"/>
          </p:cNvPicPr>
          <p:nvPr/>
        </p:nvPicPr>
        <p:blipFill rotWithShape="1">
          <a:blip r:embed="rId9"/>
          <a:srcRect l="25525"/>
          <a:stretch/>
        </p:blipFill>
        <p:spPr>
          <a:xfrm>
            <a:off x="4197246" y="344536"/>
            <a:ext cx="2953062" cy="1734877"/>
          </a:xfrm>
          <a:prstGeom prst="rect">
            <a:avLst/>
          </a:prstGeom>
        </p:spPr>
      </p:pic>
    </p:spTree>
    <p:extLst>
      <p:ext uri="{BB962C8B-B14F-4D97-AF65-F5344CB8AC3E}">
        <p14:creationId xmlns:p14="http://schemas.microsoft.com/office/powerpoint/2010/main" val="39773972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79" y="29810"/>
            <a:ext cx="9258095" cy="372542"/>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400" dirty="0"/>
              <a:t>Putty - Dulux </a:t>
            </a:r>
            <a:r>
              <a:rPr lang="en-US" sz="2400" dirty="0" err="1"/>
              <a:t>Aquatech</a:t>
            </a:r>
            <a:r>
              <a:rPr lang="en-US" sz="2400" dirty="0"/>
              <a:t> Waterproofing Putty</a:t>
            </a:r>
            <a:endParaRPr lang="en-SG" sz="2400" dirty="0">
              <a:latin typeface="Colour Sans" panose="02000503030000020004" pitchFamily="2" charset="0"/>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nvGraphicFramePr>
        <p:xfrm>
          <a:off x="0" y="385109"/>
          <a:ext cx="4106468" cy="3043698"/>
        </p:xfrm>
        <a:graphic>
          <a:graphicData uri="http://schemas.openxmlformats.org/drawingml/2006/table">
            <a:tbl>
              <a:tblPr firstRow="1" bandRow="1">
                <a:tableStyleId>{5940675A-B579-460E-94D1-54222C63F5DA}</a:tableStyleId>
              </a:tblPr>
              <a:tblGrid>
                <a:gridCol w="4106468">
                  <a:extLst>
                    <a:ext uri="{9D8B030D-6E8A-4147-A177-3AD203B41FA5}">
                      <a16:colId xmlns:a16="http://schemas.microsoft.com/office/drawing/2014/main" val="965239065"/>
                    </a:ext>
                  </a:extLst>
                </a:gridCol>
              </a:tblGrid>
              <a:tr h="163031">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631561">
                <a:tc>
                  <a:txBody>
                    <a:bodyPr/>
                    <a:lstStyle/>
                    <a:p>
                      <a:r>
                        <a:rPr lang="en-US" sz="900" dirty="0"/>
                        <a:t>Our house is our pride and biggest investment, built to last for generations. In our humid climate dampness and water seepage impacts the structure and safety of our house. </a:t>
                      </a:r>
                    </a:p>
                    <a:p>
                      <a:pPr marL="171450" indent="-171450">
                        <a:buFont typeface="Wingdings" panose="05000000000000000000" pitchFamily="2" charset="2"/>
                        <a:buChar char="ü"/>
                      </a:pPr>
                      <a:r>
                        <a:rPr lang="en-US" sz="900" dirty="0"/>
                        <a:t>How can be rest assured that I’ve prevented any kind of water leaking &amp; seepage issues for my house?</a:t>
                      </a:r>
                    </a:p>
                    <a:p>
                      <a:pPr marL="171450" indent="-171450">
                        <a:buFont typeface="Wingdings" panose="05000000000000000000" pitchFamily="2" charset="2"/>
                        <a:buChar char="ü"/>
                      </a:pPr>
                      <a:r>
                        <a:rPr lang="en-US" sz="900" dirty="0"/>
                        <a:t>I need a thorough and long lasting solution to get the dampness out and prevent it from coming b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163031">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748024">
                <a:tc>
                  <a:txBody>
                    <a:bodyPr/>
                    <a:lstStyle/>
                    <a:p>
                      <a:r>
                        <a:rPr lang="en-US" sz="900" b="1" dirty="0"/>
                        <a:t>Dulux </a:t>
                      </a:r>
                      <a:r>
                        <a:rPr lang="en-US" sz="900" b="1" dirty="0" err="1"/>
                        <a:t>Aquatech</a:t>
                      </a:r>
                      <a:r>
                        <a:rPr lang="en-US" sz="900" b="1" dirty="0"/>
                        <a:t> WTP Wall Putty </a:t>
                      </a:r>
                      <a:r>
                        <a:rPr lang="en-US" sz="900" dirty="0"/>
                        <a:t>is a premium quality powder putty that is specially designed with silicone and anti-efflorescence additives to give unique waterproofing properties and efflorescence resistance for a smooth finish and extended life to the top coats.</a:t>
                      </a:r>
                    </a:p>
                    <a:p>
                      <a:r>
                        <a:rPr lang="en-US" sz="900" i="1" dirty="0"/>
                        <a:t>It contains finest quality minerals, white cement, </a:t>
                      </a:r>
                      <a:r>
                        <a:rPr lang="en-US" sz="900" i="1" dirty="0" err="1"/>
                        <a:t>redispersible</a:t>
                      </a:r>
                      <a:r>
                        <a:rPr lang="en-US" sz="900" i="1" dirty="0"/>
                        <a:t> polymers and special additiv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163031">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300498">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SG" sz="900" b="0" dirty="0">
                          <a:latin typeface="+mn-lt"/>
                          <a:ea typeface="Open Sans" panose="020B0606030504020204" pitchFamily="34" charset="0"/>
                          <a:cs typeface="Open Sans" panose="020B0606030504020204" pitchFamily="34" charset="0"/>
                        </a:rPr>
                        <a:t>Peace of mind in the long run by comprehensive waterproofing of my hou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0" y="3661454"/>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661606" y="2326449"/>
            <a:ext cx="1171575" cy="175936"/>
          </a:xfrm>
          <a:prstGeom prst="rect">
            <a:avLst/>
          </a:prstGeom>
          <a:noFill/>
        </p:spPr>
        <p:txBody>
          <a:bodyPr wrap="square" lIns="0" tIns="0" rIns="0" bIns="0" rtlCol="0">
            <a:noAutofit/>
          </a:bodyPr>
          <a:lstStyle/>
          <a:p>
            <a:pPr algn="ctr"/>
            <a:r>
              <a:rPr lang="en-SG" sz="1100" b="1" dirty="0">
                <a:latin typeface="Colour Sans" panose="02000503030000020004" pitchFamily="2" charset="0"/>
              </a:rPr>
              <a:t>Available in</a:t>
            </a:r>
          </a:p>
          <a:p>
            <a:pPr algn="ctr"/>
            <a:r>
              <a:rPr lang="en-SG" sz="1100" dirty="0">
                <a:latin typeface="Colour Sans" panose="02000503030000020004" pitchFamily="2" charset="0"/>
              </a:rPr>
              <a:t>1Kg &amp; 40 Kg</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nvGraphicFramePr>
        <p:xfrm>
          <a:off x="0" y="3893083"/>
          <a:ext cx="3584090" cy="873395"/>
        </p:xfrm>
        <a:graphic>
          <a:graphicData uri="http://schemas.openxmlformats.org/drawingml/2006/table">
            <a:tbl>
              <a:tblPr firstRow="1" bandRow="1">
                <a:tableStyleId>{2D5ABB26-0587-4C30-8999-92F81FD0307C}</a:tableStyleId>
              </a:tblPr>
              <a:tblGrid>
                <a:gridCol w="944380">
                  <a:extLst>
                    <a:ext uri="{9D8B030D-6E8A-4147-A177-3AD203B41FA5}">
                      <a16:colId xmlns:a16="http://schemas.microsoft.com/office/drawing/2014/main" val="2714193207"/>
                    </a:ext>
                  </a:extLst>
                </a:gridCol>
                <a:gridCol w="2639710">
                  <a:extLst>
                    <a:ext uri="{9D8B030D-6E8A-4147-A177-3AD203B41FA5}">
                      <a16:colId xmlns:a16="http://schemas.microsoft.com/office/drawing/2014/main" val="402161752"/>
                    </a:ext>
                  </a:extLst>
                </a:gridCol>
              </a:tblGrid>
              <a:tr h="157003">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Applica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Interior &amp; Exterior durabl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314006">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8.3 - 10.2 sqm/Kg</a:t>
                      </a:r>
                    </a:p>
                    <a:p>
                      <a:pPr marL="0" marR="0" lvl="0" indent="85725" algn="l" defTabSz="914400" rtl="0" eaLnBrk="1" fontAlgn="b" latinLnBrk="0" hangingPunct="1">
                        <a:lnSpc>
                          <a:spcPct val="100000"/>
                        </a:lnSpc>
                        <a:spcBef>
                          <a:spcPts val="0"/>
                        </a:spcBef>
                        <a:spcAft>
                          <a:spcPts val="0"/>
                        </a:spcAft>
                        <a:buClrTx/>
                        <a:buSzTx/>
                        <a:buFontTx/>
                        <a:buNone/>
                        <a:tabLst/>
                        <a:defRPr/>
                      </a:pPr>
                      <a:r>
                        <a:rPr lang="en-US" sz="900" kern="1200" noProof="0" dirty="0">
                          <a:solidFill>
                            <a:schemeClr val="tx1"/>
                          </a:solidFill>
                          <a:latin typeface="Colour Sans" panose="02000503030000020004"/>
                          <a:ea typeface="+mn-ea"/>
                          <a:cs typeface="+mn-cs"/>
                        </a:rPr>
                        <a:t>Min. 2 coats (recommend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45383">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Finis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a:ln>
                            <a:noFill/>
                          </a:ln>
                          <a:solidFill>
                            <a:srgbClr val="000000"/>
                          </a:solidFill>
                          <a:effectLst/>
                          <a:uLnTx/>
                          <a:uFillTx/>
                          <a:latin typeface="Colour Sans" panose="02000503030000020004"/>
                          <a:ea typeface="+mn-ea"/>
                          <a:cs typeface="+mn-cs"/>
                        </a:rPr>
                        <a:t>NA</a:t>
                      </a:r>
                      <a:endPar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157003">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Whit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nvGraphicFramePr>
        <p:xfrm>
          <a:off x="3630607" y="3893083"/>
          <a:ext cx="3614969" cy="1006299"/>
        </p:xfrm>
        <a:graphic>
          <a:graphicData uri="http://schemas.openxmlformats.org/drawingml/2006/table">
            <a:tbl>
              <a:tblPr firstRow="1" bandRow="1">
                <a:tableStyleId>{2D5ABB26-0587-4C30-8999-92F81FD0307C}</a:tableStyleId>
              </a:tblPr>
              <a:tblGrid>
                <a:gridCol w="1474631">
                  <a:extLst>
                    <a:ext uri="{9D8B030D-6E8A-4147-A177-3AD203B41FA5}">
                      <a16:colId xmlns:a16="http://schemas.microsoft.com/office/drawing/2014/main" val="3738590716"/>
                    </a:ext>
                  </a:extLst>
                </a:gridCol>
                <a:gridCol w="2140338">
                  <a:extLst>
                    <a:ext uri="{9D8B030D-6E8A-4147-A177-3AD203B41FA5}">
                      <a16:colId xmlns:a16="http://schemas.microsoft.com/office/drawing/2014/main" val="3750538898"/>
                    </a:ext>
                  </a:extLst>
                </a:gridCol>
              </a:tblGrid>
              <a:tr h="152553">
                <a:tc>
                  <a:txBody>
                    <a:bodyPr/>
                    <a:lstStyle/>
                    <a:p>
                      <a:pPr marL="0" indent="85725" algn="l" fontAlgn="b"/>
                      <a:r>
                        <a:rPr lang="en-SG" sz="900" b="0" i="0" u="none" strike="noStrike">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proofing Substrat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Vertical Walls &amp; Ceiling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415736">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Performanc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alibri" panose="020F0502020204030204" pitchFamily="34" charset="0"/>
                          <a:cs typeface="Calibri" panose="020F0502020204030204" pitchFamily="34" charset="0"/>
                        </a:rPr>
                        <a:t>It is developed as a base coat to cover unevenness and pinholes in plastered surfaces and to make the walls/ceilings ready for painting</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152553">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icroorganism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dirty="0">
                          <a:latin typeface="Calibri" panose="020F0502020204030204" pitchFamily="34" charset="0"/>
                          <a:cs typeface="Calibri" panose="020F0502020204030204" pitchFamily="34" charset="0"/>
                        </a:rPr>
                        <a:t>  </a:t>
                      </a:r>
                      <a:r>
                        <a:rPr lang="en-US" sz="900" kern="1200" dirty="0">
                          <a:solidFill>
                            <a:schemeClr val="tx1"/>
                          </a:solidFill>
                          <a:latin typeface="Calibri" panose="020F0502020204030204" pitchFamily="34" charset="0"/>
                          <a:ea typeface="+mn-ea"/>
                          <a:cs typeface="Calibri" panose="020F0502020204030204" pitchFamily="34" charset="0"/>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152553">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Crack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kern="1200" dirty="0">
                          <a:solidFill>
                            <a:schemeClr val="tx1"/>
                          </a:solidFill>
                          <a:latin typeface="Calibri" panose="020F0502020204030204" pitchFamily="34" charset="0"/>
                          <a:ea typeface="+mn-ea"/>
                          <a:cs typeface="Calibri" panose="020F0502020204030204" pitchFamily="34" charset="0"/>
                        </a:rPr>
                        <a:t>NA</a:t>
                      </a:r>
                      <a:endParaRPr kumimoji="0" lang="en-US"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pic>
        <p:nvPicPr>
          <p:cNvPr id="7" name="Picture 6">
            <a:extLst>
              <a:ext uri="{FF2B5EF4-FFF2-40B4-BE49-F238E27FC236}">
                <a16:creationId xmlns:a16="http://schemas.microsoft.com/office/drawing/2014/main" id="{0204B66D-9E8E-AC59-9C34-62A0880434CB}"/>
              </a:ext>
            </a:extLst>
          </p:cNvPr>
          <p:cNvPicPr>
            <a:picLocks noChangeAspect="1"/>
          </p:cNvPicPr>
          <p:nvPr/>
        </p:nvPicPr>
        <p:blipFill rotWithShape="1">
          <a:blip r:embed="rId2"/>
          <a:srcRect l="34836" t="39782" r="57050" b="45211"/>
          <a:stretch/>
        </p:blipFill>
        <p:spPr>
          <a:xfrm>
            <a:off x="4735991" y="2538150"/>
            <a:ext cx="714625" cy="743392"/>
          </a:xfrm>
          <a:prstGeom prst="rect">
            <a:avLst/>
          </a:prstGeom>
        </p:spPr>
      </p:pic>
      <p:pic>
        <p:nvPicPr>
          <p:cNvPr id="8" name="Picture 7">
            <a:extLst>
              <a:ext uri="{FF2B5EF4-FFF2-40B4-BE49-F238E27FC236}">
                <a16:creationId xmlns:a16="http://schemas.microsoft.com/office/drawing/2014/main" id="{E1C8D200-77A8-B182-B882-0967F0B2EDF0}"/>
              </a:ext>
            </a:extLst>
          </p:cNvPr>
          <p:cNvPicPr>
            <a:picLocks noChangeAspect="1"/>
          </p:cNvPicPr>
          <p:nvPr/>
        </p:nvPicPr>
        <p:blipFill rotWithShape="1">
          <a:blip r:embed="rId2"/>
          <a:srcRect l="34836" t="56173" r="57050" b="29909"/>
          <a:stretch/>
        </p:blipFill>
        <p:spPr>
          <a:xfrm>
            <a:off x="5703375" y="2538149"/>
            <a:ext cx="742013" cy="715887"/>
          </a:xfrm>
          <a:prstGeom prst="rect">
            <a:avLst/>
          </a:prstGeom>
        </p:spPr>
      </p:pic>
      <p:sp>
        <p:nvSpPr>
          <p:cNvPr id="9" name="TextBox 8">
            <a:extLst>
              <a:ext uri="{FF2B5EF4-FFF2-40B4-BE49-F238E27FC236}">
                <a16:creationId xmlns:a16="http://schemas.microsoft.com/office/drawing/2014/main" id="{5984CA7D-56BB-3906-C49A-ED5952C02D6E}"/>
              </a:ext>
            </a:extLst>
          </p:cNvPr>
          <p:cNvSpPr txBox="1"/>
          <p:nvPr/>
        </p:nvSpPr>
        <p:spPr>
          <a:xfrm>
            <a:off x="4780579" y="3337235"/>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High Water Resistance</a:t>
            </a:r>
          </a:p>
        </p:txBody>
      </p:sp>
      <p:sp>
        <p:nvSpPr>
          <p:cNvPr id="10" name="TextBox 9">
            <a:extLst>
              <a:ext uri="{FF2B5EF4-FFF2-40B4-BE49-F238E27FC236}">
                <a16:creationId xmlns:a16="http://schemas.microsoft.com/office/drawing/2014/main" id="{5700696E-537F-D645-7AE2-AE267687950B}"/>
              </a:ext>
            </a:extLst>
          </p:cNvPr>
          <p:cNvSpPr txBox="1"/>
          <p:nvPr/>
        </p:nvSpPr>
        <p:spPr>
          <a:xfrm>
            <a:off x="5832389" y="3348584"/>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High Adhesive Strength</a:t>
            </a:r>
          </a:p>
        </p:txBody>
      </p:sp>
      <p:pic>
        <p:nvPicPr>
          <p:cNvPr id="11" name="Picture 10">
            <a:extLst>
              <a:ext uri="{FF2B5EF4-FFF2-40B4-BE49-F238E27FC236}">
                <a16:creationId xmlns:a16="http://schemas.microsoft.com/office/drawing/2014/main" id="{84C66130-56A2-AC7F-553A-6633FEC8B886}"/>
              </a:ext>
            </a:extLst>
          </p:cNvPr>
          <p:cNvPicPr>
            <a:picLocks noChangeAspect="1"/>
          </p:cNvPicPr>
          <p:nvPr/>
        </p:nvPicPr>
        <p:blipFill>
          <a:blip r:embed="rId3"/>
          <a:stretch>
            <a:fillRect/>
          </a:stretch>
        </p:blipFill>
        <p:spPr>
          <a:xfrm>
            <a:off x="4235588" y="385109"/>
            <a:ext cx="2209800" cy="1524000"/>
          </a:xfrm>
          <a:prstGeom prst="rect">
            <a:avLst/>
          </a:prstGeom>
        </p:spPr>
      </p:pic>
      <p:pic>
        <p:nvPicPr>
          <p:cNvPr id="15" name="Picture 14">
            <a:extLst>
              <a:ext uri="{FF2B5EF4-FFF2-40B4-BE49-F238E27FC236}">
                <a16:creationId xmlns:a16="http://schemas.microsoft.com/office/drawing/2014/main" id="{83E30BEF-7D84-E2EE-378A-634F674F4209}"/>
              </a:ext>
            </a:extLst>
          </p:cNvPr>
          <p:cNvPicPr>
            <a:picLocks noChangeAspect="1"/>
          </p:cNvPicPr>
          <p:nvPr/>
        </p:nvPicPr>
        <p:blipFill>
          <a:blip r:embed="rId4"/>
          <a:stretch>
            <a:fillRect/>
          </a:stretch>
        </p:blipFill>
        <p:spPr>
          <a:xfrm>
            <a:off x="7362669" y="254031"/>
            <a:ext cx="1781331" cy="1781331"/>
          </a:xfrm>
          <a:prstGeom prst="rect">
            <a:avLst/>
          </a:prstGeom>
        </p:spPr>
      </p:pic>
    </p:spTree>
    <p:extLst>
      <p:ext uri="{BB962C8B-B14F-4D97-AF65-F5344CB8AC3E}">
        <p14:creationId xmlns:p14="http://schemas.microsoft.com/office/powerpoint/2010/main" val="21046441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0FE9E8B9-9166-41CB-A93E-5142C1B33C65}"/>
              </a:ext>
            </a:extLst>
          </p:cNvPr>
          <p:cNvSpPr/>
          <p:nvPr/>
        </p:nvSpPr>
        <p:spPr>
          <a:xfrm>
            <a:off x="0" y="4186410"/>
            <a:ext cx="9144000" cy="9570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id-ID" dirty="0" err="1"/>
          </a:p>
        </p:txBody>
      </p:sp>
      <p:sp>
        <p:nvSpPr>
          <p:cNvPr id="15" name="TextBox 14">
            <a:extLst>
              <a:ext uri="{FF2B5EF4-FFF2-40B4-BE49-F238E27FC236}">
                <a16:creationId xmlns:a16="http://schemas.microsoft.com/office/drawing/2014/main" id="{35B8EBFE-6A0A-4E91-A5AE-F0A5A0A94A86}"/>
              </a:ext>
            </a:extLst>
          </p:cNvPr>
          <p:cNvSpPr txBox="1"/>
          <p:nvPr/>
        </p:nvSpPr>
        <p:spPr>
          <a:xfrm>
            <a:off x="319540" y="875484"/>
            <a:ext cx="1293057" cy="344867"/>
          </a:xfrm>
          <a:prstGeom prst="rect">
            <a:avLst/>
          </a:prstGeom>
          <a:noFill/>
        </p:spPr>
        <p:txBody>
          <a:bodyPr wrap="square" lIns="0" tIns="0" rIns="0" bIns="0" rtlCol="0" anchor="t">
            <a:noAutofit/>
          </a:bodyPr>
          <a:lstStyle/>
          <a:p>
            <a:pPr marL="285750" indent="-285750">
              <a:buFont typeface="Wingdings" panose="05000000000000000000" pitchFamily="2" charset="2"/>
              <a:buChar char="v"/>
            </a:pPr>
            <a:r>
              <a:rPr lang="en-US" sz="1200" dirty="0">
                <a:solidFill>
                  <a:schemeClr val="bg1"/>
                </a:solidFill>
              </a:rPr>
              <a:t>P</a:t>
            </a:r>
            <a:r>
              <a:rPr lang="id-ID" sz="1200" dirty="0">
                <a:solidFill>
                  <a:schemeClr val="bg1"/>
                </a:solidFill>
              </a:rPr>
              <a:t>roblems</a:t>
            </a:r>
            <a:endParaRPr lang="id-ID" sz="1200" b="0" dirty="0">
              <a:solidFill>
                <a:schemeClr val="bg1"/>
              </a:solidFill>
              <a:cs typeface="Arial"/>
            </a:endParaRPr>
          </a:p>
        </p:txBody>
      </p:sp>
      <p:sp>
        <p:nvSpPr>
          <p:cNvPr id="25" name="TextBox 24">
            <a:extLst>
              <a:ext uri="{FF2B5EF4-FFF2-40B4-BE49-F238E27FC236}">
                <a16:creationId xmlns:a16="http://schemas.microsoft.com/office/drawing/2014/main" id="{15129A85-8D3A-45E4-9DFF-626CF28B8D6A}"/>
              </a:ext>
            </a:extLst>
          </p:cNvPr>
          <p:cNvSpPr txBox="1"/>
          <p:nvPr/>
        </p:nvSpPr>
        <p:spPr>
          <a:xfrm>
            <a:off x="359472" y="2145993"/>
            <a:ext cx="1293057" cy="344867"/>
          </a:xfrm>
          <a:prstGeom prst="rect">
            <a:avLst/>
          </a:prstGeom>
          <a:noFill/>
        </p:spPr>
        <p:txBody>
          <a:bodyPr wrap="square" lIns="0" tIns="0" rIns="0" bIns="0" rtlCol="0" anchor="t">
            <a:noAutofit/>
          </a:bodyPr>
          <a:lstStyle>
            <a:defPPr>
              <a:defRPr lang="nl-NL"/>
            </a:defPPr>
            <a:lvl1pPr marL="285750" indent="-285750">
              <a:buFont typeface="Wingdings" panose="05000000000000000000" pitchFamily="2" charset="2"/>
              <a:buChar char="v"/>
              <a:defRPr sz="1600"/>
            </a:lvl1pPr>
          </a:lstStyle>
          <a:p>
            <a:r>
              <a:rPr lang="en-US" sz="1200" dirty="0">
                <a:solidFill>
                  <a:schemeClr val="bg1"/>
                </a:solidFill>
              </a:rPr>
              <a:t>S</a:t>
            </a:r>
            <a:r>
              <a:rPr lang="id-ID" sz="1200" dirty="0">
                <a:solidFill>
                  <a:schemeClr val="bg1"/>
                </a:solidFill>
              </a:rPr>
              <a:t>olution</a:t>
            </a:r>
          </a:p>
        </p:txBody>
      </p:sp>
      <p:sp>
        <p:nvSpPr>
          <p:cNvPr id="20" name="TextBox 19">
            <a:extLst>
              <a:ext uri="{FF2B5EF4-FFF2-40B4-BE49-F238E27FC236}">
                <a16:creationId xmlns:a16="http://schemas.microsoft.com/office/drawing/2014/main" id="{5FF7CA16-FD6D-4F13-9106-DEE88E5E669F}"/>
              </a:ext>
            </a:extLst>
          </p:cNvPr>
          <p:cNvSpPr txBox="1"/>
          <p:nvPr/>
        </p:nvSpPr>
        <p:spPr>
          <a:xfrm>
            <a:off x="359472" y="3269007"/>
            <a:ext cx="1293057" cy="344867"/>
          </a:xfrm>
          <a:prstGeom prst="rect">
            <a:avLst/>
          </a:prstGeom>
          <a:noFill/>
        </p:spPr>
        <p:txBody>
          <a:bodyPr wrap="square" lIns="0" tIns="0" rIns="0" bIns="0" rtlCol="0" anchor="t">
            <a:noAutofit/>
          </a:bodyPr>
          <a:lstStyle>
            <a:defPPr>
              <a:defRPr lang="nl-NL"/>
            </a:defPPr>
            <a:lvl1pPr marL="285750" indent="-285750">
              <a:buFont typeface="Wingdings" panose="05000000000000000000" pitchFamily="2" charset="2"/>
              <a:buChar char="v"/>
              <a:defRPr sz="1600"/>
            </a:lvl1pPr>
          </a:lstStyle>
          <a:p>
            <a:r>
              <a:rPr lang="en-US" sz="1200" dirty="0">
                <a:solidFill>
                  <a:schemeClr val="bg1"/>
                </a:solidFill>
              </a:rPr>
              <a:t>B</a:t>
            </a:r>
            <a:r>
              <a:rPr lang="id-ID" sz="1200" dirty="0">
                <a:solidFill>
                  <a:schemeClr val="bg1"/>
                </a:solidFill>
              </a:rPr>
              <a:t>enefit</a:t>
            </a:r>
          </a:p>
        </p:txBody>
      </p:sp>
      <p:sp>
        <p:nvSpPr>
          <p:cNvPr id="21" name="TextBox 20">
            <a:extLst>
              <a:ext uri="{FF2B5EF4-FFF2-40B4-BE49-F238E27FC236}">
                <a16:creationId xmlns:a16="http://schemas.microsoft.com/office/drawing/2014/main" id="{AF2C3DDA-4E81-477E-AC72-0A80BD1729E1}"/>
              </a:ext>
            </a:extLst>
          </p:cNvPr>
          <p:cNvSpPr txBox="1"/>
          <p:nvPr/>
        </p:nvSpPr>
        <p:spPr>
          <a:xfrm>
            <a:off x="645912" y="3472572"/>
            <a:ext cx="5699804" cy="192734"/>
          </a:xfrm>
          <a:prstGeom prst="rect">
            <a:avLst/>
          </a:prstGeom>
          <a:noFill/>
        </p:spPr>
        <p:txBody>
          <a:bodyPr wrap="square" lIns="0" tIns="0" rIns="0" bIns="0" rtlCol="0" anchor="t">
            <a:noAutofit/>
          </a:bodyPr>
          <a:lstStyle/>
          <a:p>
            <a:r>
              <a:rPr lang="en-US" sz="900" dirty="0">
                <a:solidFill>
                  <a:schemeClr val="bg1"/>
                </a:solidFill>
              </a:rPr>
              <a:t>Keep walls and flooring in wet areas a good as new.</a:t>
            </a:r>
          </a:p>
        </p:txBody>
      </p:sp>
      <p:sp>
        <p:nvSpPr>
          <p:cNvPr id="27" name="TextBox 26">
            <a:extLst>
              <a:ext uri="{FF2B5EF4-FFF2-40B4-BE49-F238E27FC236}">
                <a16:creationId xmlns:a16="http://schemas.microsoft.com/office/drawing/2014/main" id="{01ECFCD0-FF37-4633-B624-8B6BCB4B9C4E}"/>
              </a:ext>
            </a:extLst>
          </p:cNvPr>
          <p:cNvSpPr txBox="1"/>
          <p:nvPr/>
        </p:nvSpPr>
        <p:spPr>
          <a:xfrm>
            <a:off x="175012" y="3580693"/>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graphicFrame>
        <p:nvGraphicFramePr>
          <p:cNvPr id="30" name="Table 29">
            <a:extLst>
              <a:ext uri="{FF2B5EF4-FFF2-40B4-BE49-F238E27FC236}">
                <a16:creationId xmlns:a16="http://schemas.microsoft.com/office/drawing/2014/main" id="{3A756372-B2AD-4FD4-B1B0-5EE53F5BF707}"/>
              </a:ext>
            </a:extLst>
          </p:cNvPr>
          <p:cNvGraphicFramePr>
            <a:graphicFrameLocks noGrp="1"/>
          </p:cNvGraphicFramePr>
          <p:nvPr/>
        </p:nvGraphicFramePr>
        <p:xfrm>
          <a:off x="242737" y="3916811"/>
          <a:ext cx="3272865" cy="1174390"/>
        </p:xfrm>
        <a:graphic>
          <a:graphicData uri="http://schemas.openxmlformats.org/drawingml/2006/table">
            <a:tbl>
              <a:tblPr firstRow="1" bandRow="1">
                <a:tableStyleId>{2D5ABB26-0587-4C30-8999-92F81FD0307C}</a:tableStyleId>
              </a:tblPr>
              <a:tblGrid>
                <a:gridCol w="1037853">
                  <a:extLst>
                    <a:ext uri="{9D8B030D-6E8A-4147-A177-3AD203B41FA5}">
                      <a16:colId xmlns:a16="http://schemas.microsoft.com/office/drawing/2014/main" val="2714193207"/>
                    </a:ext>
                  </a:extLst>
                </a:gridCol>
                <a:gridCol w="2235012">
                  <a:extLst>
                    <a:ext uri="{9D8B030D-6E8A-4147-A177-3AD203B41FA5}">
                      <a16:colId xmlns:a16="http://schemas.microsoft.com/office/drawing/2014/main" val="402161752"/>
                    </a:ext>
                  </a:extLst>
                </a:gridCol>
              </a:tblGrid>
              <a:tr h="256001">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Applica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Interior &amp; Exterior Durabl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397625">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1.8-2.0 m2/</a:t>
                      </a:r>
                      <a:r>
                        <a:rPr lang="en-US" sz="900" dirty="0" err="1">
                          <a:latin typeface="Colour Sans" panose="02000503030000020004"/>
                        </a:rPr>
                        <a:t>lt</a:t>
                      </a:r>
                      <a:r>
                        <a:rPr lang="en-US" sz="900">
                          <a:latin typeface="Colour Sans" panose="02000503030000020004"/>
                        </a:rPr>
                        <a:t>/coat</a:t>
                      </a:r>
                      <a:endParaRPr lang="en-US" sz="900" dirty="0">
                        <a:latin typeface="Colour Sans" panose="02000503030000020004"/>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56001">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Finis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NA</a:t>
                      </a:r>
                      <a:endPar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64763">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31" name="Table 30">
            <a:extLst>
              <a:ext uri="{FF2B5EF4-FFF2-40B4-BE49-F238E27FC236}">
                <a16:creationId xmlns:a16="http://schemas.microsoft.com/office/drawing/2014/main" id="{21F3BBCC-555E-44BE-8B32-70E4760B4940}"/>
              </a:ext>
            </a:extLst>
          </p:cNvPr>
          <p:cNvGraphicFramePr>
            <a:graphicFrameLocks noGrp="1"/>
          </p:cNvGraphicFramePr>
          <p:nvPr/>
        </p:nvGraphicFramePr>
        <p:xfrm>
          <a:off x="3590975" y="3934906"/>
          <a:ext cx="3614969" cy="1156296"/>
        </p:xfrm>
        <a:graphic>
          <a:graphicData uri="http://schemas.openxmlformats.org/drawingml/2006/table">
            <a:tbl>
              <a:tblPr firstRow="1" bandRow="1">
                <a:tableStyleId>{2D5ABB26-0587-4C30-8999-92F81FD0307C}</a:tableStyleId>
              </a:tblPr>
              <a:tblGrid>
                <a:gridCol w="1474631">
                  <a:extLst>
                    <a:ext uri="{9D8B030D-6E8A-4147-A177-3AD203B41FA5}">
                      <a16:colId xmlns:a16="http://schemas.microsoft.com/office/drawing/2014/main" val="3738590716"/>
                    </a:ext>
                  </a:extLst>
                </a:gridCol>
                <a:gridCol w="2140338">
                  <a:extLst>
                    <a:ext uri="{9D8B030D-6E8A-4147-A177-3AD203B41FA5}">
                      <a16:colId xmlns:a16="http://schemas.microsoft.com/office/drawing/2014/main" val="3750538898"/>
                    </a:ext>
                  </a:extLst>
                </a:gridCol>
              </a:tblGrid>
              <a:tr h="202552">
                <a:tc>
                  <a:txBody>
                    <a:bodyPr/>
                    <a:lstStyle/>
                    <a:p>
                      <a:pPr marL="0" indent="85725" algn="l" fontAlgn="b"/>
                      <a:r>
                        <a:rPr lang="en-SG" sz="900" b="0" i="0" u="none" strike="noStrike">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proofing Substrat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Repairing damaged concrete, columns, beams, and </a:t>
                      </a:r>
                      <a:r>
                        <a:rPr kumimoji="0" lang="en-US" sz="900" b="0" i="0" u="none" strike="noStrike" kern="1200" cap="none" spc="0" normalizeH="0" baseline="0" noProof="0" dirty="0" err="1">
                          <a:ln>
                            <a:noFill/>
                          </a:ln>
                          <a:solidFill>
                            <a:srgbClr val="000000"/>
                          </a:solidFill>
                          <a:effectLst/>
                          <a:uLnTx/>
                          <a:uFillTx/>
                          <a:latin typeface="Colour Sans" panose="02000503030000020004" pitchFamily="2" charset="0"/>
                          <a:ea typeface="+mn-ea"/>
                          <a:cs typeface="+mn-cs"/>
                        </a:rPr>
                        <a:t>chajjas</a:t>
                      </a:r>
                      <a:r>
                        <a:rPr kumimoji="0" lang="en-US"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 </a:t>
                      </a:r>
                    </a:p>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Also used for waterproofing of toilets, balconies, and sunken area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202552">
                <a:tc>
                  <a:txBody>
                    <a:bodyPr/>
                    <a:lstStyle/>
                    <a:p>
                      <a:pPr marL="0" indent="85725" algn="l" fontAlgn="b"/>
                      <a:r>
                        <a:rPr lang="en-US" sz="900" b="0" u="none" strike="noStrike" dirty="0">
                          <a:effectLst/>
                          <a:latin typeface="Colour Sans" panose="02000503030000020004" pitchFamily="2" charset="0"/>
                          <a:ea typeface="Open Sans" panose="020B0606030504020204" pitchFamily="34" charset="0"/>
                          <a:cs typeface="Open Sans" panose="020B0606030504020204" pitchFamily="34" charset="0"/>
                        </a:rPr>
                        <a:t>Performanc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alibri" panose="020F0502020204030204" pitchFamily="34" charset="0"/>
                          <a:cs typeface="Calibri" panose="020F0502020204030204" pitchFamily="34" charset="0"/>
                        </a:rPr>
                        <a:t>Resistance to water pressure is 2-3 bars</a:t>
                      </a:r>
                      <a:endPar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202552">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icroorganism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dirty="0">
                          <a:latin typeface="Calibri" panose="020F0502020204030204" pitchFamily="34" charset="0"/>
                          <a:cs typeface="Calibri" panose="020F0502020204030204" pitchFamily="34" charset="0"/>
                        </a:rPr>
                        <a:t>  </a:t>
                      </a:r>
                      <a:r>
                        <a:rPr lang="id-ID" sz="900" dirty="0">
                          <a:latin typeface="Calibri" panose="020F0502020204030204" pitchFamily="34" charset="0"/>
                          <a:cs typeface="Calibri" panose="020F0502020204030204" pitchFamily="34" charset="0"/>
                        </a:rPr>
                        <a:t> </a:t>
                      </a:r>
                      <a:r>
                        <a:rPr lang="en-US" sz="900" kern="1200" dirty="0">
                          <a:solidFill>
                            <a:schemeClr val="tx1"/>
                          </a:solidFill>
                          <a:latin typeface="Calibri" panose="020F0502020204030204" pitchFamily="34" charset="0"/>
                          <a:ea typeface="+mn-ea"/>
                          <a:cs typeface="Calibri" panose="020F0502020204030204" pitchFamily="34" charset="0"/>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202552">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Crack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endPar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40" name="TextBox 39">
            <a:extLst>
              <a:ext uri="{FF2B5EF4-FFF2-40B4-BE49-F238E27FC236}">
                <a16:creationId xmlns:a16="http://schemas.microsoft.com/office/drawing/2014/main" id="{068E00DB-F5C1-49B9-A3B0-8B9A828D9A3A}"/>
              </a:ext>
            </a:extLst>
          </p:cNvPr>
          <p:cNvSpPr txBox="1"/>
          <p:nvPr/>
        </p:nvSpPr>
        <p:spPr>
          <a:xfrm>
            <a:off x="7663851" y="4643857"/>
            <a:ext cx="1322004" cy="368595"/>
          </a:xfrm>
          <a:prstGeom prst="rect">
            <a:avLst/>
          </a:prstGeom>
          <a:noFill/>
        </p:spPr>
        <p:txBody>
          <a:bodyPr wrap="square" lIns="0" tIns="0" rIns="0" bIns="0" rtlCol="0" anchor="t">
            <a:noAutofit/>
          </a:bodyPr>
          <a:lstStyle/>
          <a:p>
            <a:endParaRPr lang="en-US" sz="900" b="1" dirty="0">
              <a:solidFill>
                <a:srgbClr val="005192"/>
              </a:solidFill>
            </a:endParaRPr>
          </a:p>
        </p:txBody>
      </p:sp>
      <p:graphicFrame>
        <p:nvGraphicFramePr>
          <p:cNvPr id="24" name="Table 5">
            <a:extLst>
              <a:ext uri="{FF2B5EF4-FFF2-40B4-BE49-F238E27FC236}">
                <a16:creationId xmlns:a16="http://schemas.microsoft.com/office/drawing/2014/main" id="{D996990A-6938-4438-A748-83075D9A816E}"/>
              </a:ext>
            </a:extLst>
          </p:cNvPr>
          <p:cNvGraphicFramePr>
            <a:graphicFrameLocks noGrp="1"/>
          </p:cNvGraphicFramePr>
          <p:nvPr>
            <p:extLst>
              <p:ext uri="{D42A27DB-BD31-4B8C-83A1-F6EECF244321}">
                <p14:modId xmlns:p14="http://schemas.microsoft.com/office/powerpoint/2010/main" val="3351149869"/>
              </p:ext>
            </p:extLst>
          </p:nvPr>
        </p:nvGraphicFramePr>
        <p:xfrm>
          <a:off x="34156" y="473544"/>
          <a:ext cx="5399969" cy="2623033"/>
        </p:xfrm>
        <a:graphic>
          <a:graphicData uri="http://schemas.openxmlformats.org/drawingml/2006/table">
            <a:tbl>
              <a:tblPr firstRow="1" bandRow="1">
                <a:tableStyleId>{5940675A-B579-460E-94D1-54222C63F5DA}</a:tableStyleId>
              </a:tblPr>
              <a:tblGrid>
                <a:gridCol w="5399969">
                  <a:extLst>
                    <a:ext uri="{9D8B030D-6E8A-4147-A177-3AD203B41FA5}">
                      <a16:colId xmlns:a16="http://schemas.microsoft.com/office/drawing/2014/main" val="965239065"/>
                    </a:ext>
                  </a:extLst>
                </a:gridCol>
              </a:tblGrid>
              <a:tr h="157809">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724066">
                <a:tc>
                  <a:txBody>
                    <a:bodyPr/>
                    <a:lstStyle/>
                    <a:p>
                      <a:r>
                        <a:rPr lang="en-US" sz="900" dirty="0"/>
                        <a:t>Our house is our pride and biggest investment, built to last for generations. In our humid climate dampness and water seepage impacts the structure and safety of our house. </a:t>
                      </a:r>
                    </a:p>
                    <a:p>
                      <a:pPr marL="171450" indent="-171450">
                        <a:buFont typeface="Wingdings" panose="05000000000000000000" pitchFamily="2" charset="2"/>
                        <a:buChar char="ü"/>
                      </a:pPr>
                      <a:r>
                        <a:rPr lang="en-US" sz="900" dirty="0"/>
                        <a:t>How can be rest assured that I’ve prevented any kind of water leaking &amp; seepage issues for my house?</a:t>
                      </a:r>
                    </a:p>
                    <a:p>
                      <a:pPr marL="171450" indent="-171450">
                        <a:buFont typeface="Wingdings" panose="05000000000000000000" pitchFamily="2" charset="2"/>
                        <a:buChar char="ü"/>
                      </a:pPr>
                      <a:r>
                        <a:rPr lang="en-US" sz="900" dirty="0"/>
                        <a:t>I need a thorough and long lasting solution to get the dampness out and prevent it from coming b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157809">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6405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t>Dulux </a:t>
                      </a:r>
                      <a:r>
                        <a:rPr lang="en-US" sz="900" b="1" i="0" dirty="0" err="1"/>
                        <a:t>Aquatech</a:t>
                      </a:r>
                      <a:r>
                        <a:rPr lang="en-US" sz="900" b="1" i="0" dirty="0"/>
                        <a:t> Repair Pro Latex -Waterproof Repair Polymer (WRP)</a:t>
                      </a:r>
                      <a:r>
                        <a:rPr lang="en-US" sz="900" b="0" i="0" dirty="0"/>
                        <a:t> is a ready to use multipurpose latex-based bonding additive for use in mortars, bond coats, and waterproofing primer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1" dirty="0"/>
                        <a:t>Its </a:t>
                      </a:r>
                      <a:r>
                        <a:rPr lang="en-US" sz="900" b="1" i="1" dirty="0" err="1"/>
                        <a:t>Ultradense</a:t>
                      </a:r>
                      <a:r>
                        <a:rPr lang="en-US" sz="900" b="1" i="1" dirty="0"/>
                        <a:t> Technology</a:t>
                      </a:r>
                      <a:r>
                        <a:rPr lang="en-US" sz="900" b="0" i="1" dirty="0"/>
                        <a:t> helps in increasing the compressive strength and thus provide higher resistance to water penetr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157809">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290873">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dirty="0">
                          <a:latin typeface="+mn-lt"/>
                          <a:ea typeface="Open Sans" panose="020B0606030504020204" pitchFamily="34" charset="0"/>
                          <a:cs typeface="Open Sans" panose="020B0606030504020204" pitchFamily="34" charset="0"/>
                        </a:rPr>
                        <a:t>Stay worry free when it comes to protection of my house from any dampness and seepages issues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36" name="TextBox 35">
            <a:extLst>
              <a:ext uri="{FF2B5EF4-FFF2-40B4-BE49-F238E27FC236}">
                <a16:creationId xmlns:a16="http://schemas.microsoft.com/office/drawing/2014/main" id="{183EFC43-42B0-4D8E-8EC6-0D424CDB0B90}"/>
              </a:ext>
            </a:extLst>
          </p:cNvPr>
          <p:cNvSpPr txBox="1"/>
          <p:nvPr/>
        </p:nvSpPr>
        <p:spPr>
          <a:xfrm>
            <a:off x="7705720" y="2143199"/>
            <a:ext cx="1473046" cy="214251"/>
          </a:xfrm>
          <a:prstGeom prst="rect">
            <a:avLst/>
          </a:prstGeom>
          <a:noFill/>
        </p:spPr>
        <p:txBody>
          <a:bodyPr wrap="square" lIns="0" tIns="0" rIns="0" bIns="0" rtlCol="0">
            <a:noAutofit/>
          </a:bodyPr>
          <a:lstStyle/>
          <a:p>
            <a:pPr algn="ctr"/>
            <a:r>
              <a:rPr lang="en-SG" sz="1050" b="1" dirty="0">
                <a:latin typeface="Colour Sans" panose="02000503030000020004" pitchFamily="2" charset="0"/>
              </a:rPr>
              <a:t>Available in</a:t>
            </a:r>
          </a:p>
          <a:p>
            <a:pPr algn="ctr"/>
            <a:r>
              <a:rPr lang="en-US" sz="1050" dirty="0">
                <a:latin typeface="Colour Sans" panose="02000503030000020004" pitchFamily="2" charset="0"/>
              </a:rPr>
              <a:t>0.5Kg, </a:t>
            </a:r>
            <a:r>
              <a:rPr lang="id-ID" sz="1050" dirty="0">
                <a:latin typeface="Colour Sans" panose="02000503030000020004" pitchFamily="2" charset="0"/>
              </a:rPr>
              <a:t>1Kg, </a:t>
            </a:r>
            <a:r>
              <a:rPr lang="en-SG" sz="1050" dirty="0">
                <a:latin typeface="Colour Sans" panose="02000503030000020004" pitchFamily="2" charset="0"/>
              </a:rPr>
              <a:t>5K</a:t>
            </a:r>
            <a:r>
              <a:rPr lang="id-ID" sz="1050" dirty="0">
                <a:latin typeface="Colour Sans" panose="02000503030000020004" pitchFamily="2" charset="0"/>
              </a:rPr>
              <a:t>g</a:t>
            </a:r>
            <a:r>
              <a:rPr lang="en-SG" sz="1050" dirty="0">
                <a:latin typeface="Colour Sans" panose="02000503030000020004" pitchFamily="2" charset="0"/>
              </a:rPr>
              <a:t> &amp; 20K</a:t>
            </a:r>
            <a:r>
              <a:rPr lang="id-ID" sz="1050" dirty="0">
                <a:latin typeface="Colour Sans" panose="02000503030000020004" pitchFamily="2" charset="0"/>
              </a:rPr>
              <a:t>g</a:t>
            </a:r>
            <a:endParaRPr lang="en-SG" sz="1050" dirty="0">
              <a:latin typeface="Colour Sans" panose="02000503030000020004" pitchFamily="2" charset="0"/>
            </a:endParaRPr>
          </a:p>
        </p:txBody>
      </p:sp>
      <p:sp>
        <p:nvSpPr>
          <p:cNvPr id="3" name="Title 7">
            <a:extLst>
              <a:ext uri="{FF2B5EF4-FFF2-40B4-BE49-F238E27FC236}">
                <a16:creationId xmlns:a16="http://schemas.microsoft.com/office/drawing/2014/main" id="{4EA0FFC2-C11C-B831-BFF8-945E81DFA25B}"/>
              </a:ext>
            </a:extLst>
          </p:cNvPr>
          <p:cNvSpPr txBox="1">
            <a:spLocks/>
          </p:cNvSpPr>
          <p:nvPr/>
        </p:nvSpPr>
        <p:spPr bwMode="gray">
          <a:xfrm>
            <a:off x="92692" y="34749"/>
            <a:ext cx="7814525" cy="344867"/>
          </a:xfrm>
          <a:prstGeom prst="rect">
            <a:avLst/>
          </a:prstGeom>
        </p:spPr>
        <p:txBody>
          <a:bodyPr wrap="square" lIns="0" tIns="0" rIns="0" bIns="0" rtlCol="0" anchor="b" anchorCtr="0">
            <a:noAutofit/>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000" dirty="0"/>
              <a:t>Integral - </a:t>
            </a:r>
            <a:r>
              <a:rPr lang="id-ID" sz="2000" dirty="0"/>
              <a:t>Dulux </a:t>
            </a:r>
            <a:r>
              <a:rPr lang="en-US" sz="2000" dirty="0" err="1"/>
              <a:t>Aquatech</a:t>
            </a:r>
            <a:r>
              <a:rPr lang="en-US" sz="2000" dirty="0"/>
              <a:t> Repair Polymer</a:t>
            </a:r>
            <a:endParaRPr lang="id-ID" sz="2000" b="0" i="1" dirty="0"/>
          </a:p>
        </p:txBody>
      </p:sp>
      <p:pic>
        <p:nvPicPr>
          <p:cNvPr id="2" name="Picture 1">
            <a:extLst>
              <a:ext uri="{FF2B5EF4-FFF2-40B4-BE49-F238E27FC236}">
                <a16:creationId xmlns:a16="http://schemas.microsoft.com/office/drawing/2014/main" id="{A6906BEA-C8C3-B22E-FA49-32EBA10AD02B}"/>
              </a:ext>
            </a:extLst>
          </p:cNvPr>
          <p:cNvPicPr>
            <a:picLocks noChangeAspect="1"/>
          </p:cNvPicPr>
          <p:nvPr/>
        </p:nvPicPr>
        <p:blipFill rotWithShape="1">
          <a:blip r:embed="rId3"/>
          <a:srcRect l="26920" r="34316"/>
          <a:stretch/>
        </p:blipFill>
        <p:spPr>
          <a:xfrm>
            <a:off x="8118785" y="585591"/>
            <a:ext cx="590767" cy="1524000"/>
          </a:xfrm>
          <a:prstGeom prst="rect">
            <a:avLst/>
          </a:prstGeom>
        </p:spPr>
      </p:pic>
      <p:pic>
        <p:nvPicPr>
          <p:cNvPr id="5" name="Picture 4">
            <a:extLst>
              <a:ext uri="{FF2B5EF4-FFF2-40B4-BE49-F238E27FC236}">
                <a16:creationId xmlns:a16="http://schemas.microsoft.com/office/drawing/2014/main" id="{B9B8C8B0-C471-0BC4-FE79-EAB1964E2541}"/>
              </a:ext>
            </a:extLst>
          </p:cNvPr>
          <p:cNvPicPr>
            <a:picLocks noChangeAspect="1"/>
          </p:cNvPicPr>
          <p:nvPr/>
        </p:nvPicPr>
        <p:blipFill rotWithShape="1">
          <a:blip r:embed="rId4"/>
          <a:srcRect l="4937" t="77159" r="73752" b="14408"/>
          <a:stretch/>
        </p:blipFill>
        <p:spPr>
          <a:xfrm>
            <a:off x="6110516" y="2997427"/>
            <a:ext cx="1675741" cy="373030"/>
          </a:xfrm>
          <a:prstGeom prst="rect">
            <a:avLst/>
          </a:prstGeom>
        </p:spPr>
      </p:pic>
      <p:pic>
        <p:nvPicPr>
          <p:cNvPr id="6" name="Picture 5">
            <a:extLst>
              <a:ext uri="{FF2B5EF4-FFF2-40B4-BE49-F238E27FC236}">
                <a16:creationId xmlns:a16="http://schemas.microsoft.com/office/drawing/2014/main" id="{579980A9-F2C7-B33C-BA65-22DA846238A8}"/>
              </a:ext>
            </a:extLst>
          </p:cNvPr>
          <p:cNvPicPr>
            <a:picLocks noChangeAspect="1"/>
          </p:cNvPicPr>
          <p:nvPr/>
        </p:nvPicPr>
        <p:blipFill rotWithShape="1">
          <a:blip r:embed="rId4"/>
          <a:srcRect l="41372" t="58536" r="52049" b="26892"/>
          <a:stretch/>
        </p:blipFill>
        <p:spPr>
          <a:xfrm>
            <a:off x="5508933" y="2751111"/>
            <a:ext cx="601583" cy="749511"/>
          </a:xfrm>
          <a:prstGeom prst="rect">
            <a:avLst/>
          </a:prstGeom>
        </p:spPr>
      </p:pic>
      <p:sp>
        <p:nvSpPr>
          <p:cNvPr id="7" name="TextBox 6">
            <a:extLst>
              <a:ext uri="{FF2B5EF4-FFF2-40B4-BE49-F238E27FC236}">
                <a16:creationId xmlns:a16="http://schemas.microsoft.com/office/drawing/2014/main" id="{4EDAFC65-0A29-1C3D-E58E-368525D37B18}"/>
              </a:ext>
            </a:extLst>
          </p:cNvPr>
          <p:cNvSpPr txBox="1"/>
          <p:nvPr/>
        </p:nvSpPr>
        <p:spPr>
          <a:xfrm>
            <a:off x="6035823" y="3468707"/>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Multipurpose</a:t>
            </a:r>
          </a:p>
        </p:txBody>
      </p:sp>
      <p:sp>
        <p:nvSpPr>
          <p:cNvPr id="8" name="TextBox 7">
            <a:extLst>
              <a:ext uri="{FF2B5EF4-FFF2-40B4-BE49-F238E27FC236}">
                <a16:creationId xmlns:a16="http://schemas.microsoft.com/office/drawing/2014/main" id="{91C925D0-FFCE-9864-4F89-8DE127FB2862}"/>
              </a:ext>
            </a:extLst>
          </p:cNvPr>
          <p:cNvSpPr txBox="1"/>
          <p:nvPr/>
        </p:nvSpPr>
        <p:spPr>
          <a:xfrm>
            <a:off x="6632156" y="3441440"/>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High </a:t>
            </a:r>
          </a:p>
          <a:p>
            <a:r>
              <a:rPr lang="en-SG" sz="700" dirty="0">
                <a:latin typeface="Colour Sans" panose="02000503030000020004" pitchFamily="2" charset="0"/>
              </a:rPr>
              <a:t>Adhesive</a:t>
            </a:r>
          </a:p>
          <a:p>
            <a:r>
              <a:rPr lang="en-SG" sz="700" dirty="0">
                <a:latin typeface="Colour Sans" panose="02000503030000020004" pitchFamily="2" charset="0"/>
              </a:rPr>
              <a:t>Strength</a:t>
            </a:r>
          </a:p>
        </p:txBody>
      </p:sp>
      <p:sp>
        <p:nvSpPr>
          <p:cNvPr id="9" name="TextBox 8">
            <a:extLst>
              <a:ext uri="{FF2B5EF4-FFF2-40B4-BE49-F238E27FC236}">
                <a16:creationId xmlns:a16="http://schemas.microsoft.com/office/drawing/2014/main" id="{EA3333C6-02F7-A6FA-3B57-AE9C1FD86138}"/>
              </a:ext>
            </a:extLst>
          </p:cNvPr>
          <p:cNvSpPr txBox="1"/>
          <p:nvPr/>
        </p:nvSpPr>
        <p:spPr>
          <a:xfrm>
            <a:off x="7016856" y="3455621"/>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High </a:t>
            </a:r>
          </a:p>
          <a:p>
            <a:r>
              <a:rPr lang="en-SG" sz="700" dirty="0">
                <a:latin typeface="Colour Sans" panose="02000503030000020004" pitchFamily="2" charset="0"/>
              </a:rPr>
              <a:t>Compressive</a:t>
            </a:r>
          </a:p>
          <a:p>
            <a:r>
              <a:rPr lang="en-SG" sz="700" dirty="0">
                <a:latin typeface="Colour Sans" panose="02000503030000020004" pitchFamily="2" charset="0"/>
              </a:rPr>
              <a:t>Strength</a:t>
            </a:r>
          </a:p>
        </p:txBody>
      </p:sp>
      <p:sp>
        <p:nvSpPr>
          <p:cNvPr id="10" name="TextBox 9">
            <a:extLst>
              <a:ext uri="{FF2B5EF4-FFF2-40B4-BE49-F238E27FC236}">
                <a16:creationId xmlns:a16="http://schemas.microsoft.com/office/drawing/2014/main" id="{6E5053BF-1BF4-785F-11B2-63CAA624573D}"/>
              </a:ext>
            </a:extLst>
          </p:cNvPr>
          <p:cNvSpPr txBox="1"/>
          <p:nvPr/>
        </p:nvSpPr>
        <p:spPr>
          <a:xfrm>
            <a:off x="7522516" y="3460525"/>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High </a:t>
            </a:r>
          </a:p>
          <a:p>
            <a:r>
              <a:rPr lang="en-SG" sz="700" dirty="0">
                <a:latin typeface="Colour Sans" panose="02000503030000020004" pitchFamily="2" charset="0"/>
              </a:rPr>
              <a:t>Water</a:t>
            </a:r>
          </a:p>
          <a:p>
            <a:r>
              <a:rPr lang="en-SG" sz="700" dirty="0">
                <a:latin typeface="Colour Sans" panose="02000503030000020004" pitchFamily="2" charset="0"/>
              </a:rPr>
              <a:t>Resistance</a:t>
            </a:r>
          </a:p>
        </p:txBody>
      </p:sp>
      <p:pic>
        <p:nvPicPr>
          <p:cNvPr id="11" name="Picture 10">
            <a:extLst>
              <a:ext uri="{FF2B5EF4-FFF2-40B4-BE49-F238E27FC236}">
                <a16:creationId xmlns:a16="http://schemas.microsoft.com/office/drawing/2014/main" id="{89285FFC-3DD0-146E-955C-F49FC3971A93}"/>
              </a:ext>
            </a:extLst>
          </p:cNvPr>
          <p:cNvPicPr>
            <a:picLocks noChangeAspect="1"/>
          </p:cNvPicPr>
          <p:nvPr/>
        </p:nvPicPr>
        <p:blipFill rotWithShape="1">
          <a:blip r:embed="rId4"/>
          <a:srcRect l="32279" t="77159" r="62159" b="15058"/>
          <a:stretch/>
        </p:blipFill>
        <p:spPr>
          <a:xfrm>
            <a:off x="7950521" y="3006390"/>
            <a:ext cx="437320" cy="344267"/>
          </a:xfrm>
          <a:prstGeom prst="rect">
            <a:avLst/>
          </a:prstGeom>
        </p:spPr>
      </p:pic>
      <p:sp>
        <p:nvSpPr>
          <p:cNvPr id="12" name="TextBox 11">
            <a:extLst>
              <a:ext uri="{FF2B5EF4-FFF2-40B4-BE49-F238E27FC236}">
                <a16:creationId xmlns:a16="http://schemas.microsoft.com/office/drawing/2014/main" id="{C61B2CC0-1D79-F6C3-EBB5-E649C8D932F1}"/>
              </a:ext>
            </a:extLst>
          </p:cNvPr>
          <p:cNvSpPr txBox="1"/>
          <p:nvPr/>
        </p:nvSpPr>
        <p:spPr>
          <a:xfrm>
            <a:off x="8029469" y="3440725"/>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Improves</a:t>
            </a:r>
          </a:p>
          <a:p>
            <a:r>
              <a:rPr lang="en-SG" sz="700" dirty="0">
                <a:latin typeface="Colour Sans" panose="02000503030000020004" pitchFamily="2" charset="0"/>
              </a:rPr>
              <a:t>Hardness &amp; </a:t>
            </a:r>
          </a:p>
          <a:p>
            <a:r>
              <a:rPr lang="en-SG" sz="700" dirty="0">
                <a:latin typeface="Colour Sans" panose="02000503030000020004" pitchFamily="2" charset="0"/>
              </a:rPr>
              <a:t>Abrasion </a:t>
            </a:r>
          </a:p>
          <a:p>
            <a:r>
              <a:rPr lang="en-SG" sz="700" dirty="0">
                <a:latin typeface="Colour Sans" panose="02000503030000020004" pitchFamily="2" charset="0"/>
              </a:rPr>
              <a:t>Resistance</a:t>
            </a:r>
          </a:p>
        </p:txBody>
      </p:sp>
      <p:pic>
        <p:nvPicPr>
          <p:cNvPr id="16" name="Picture 15">
            <a:extLst>
              <a:ext uri="{FF2B5EF4-FFF2-40B4-BE49-F238E27FC236}">
                <a16:creationId xmlns:a16="http://schemas.microsoft.com/office/drawing/2014/main" id="{21862EA6-C99A-9079-8650-E026463A288B}"/>
              </a:ext>
            </a:extLst>
          </p:cNvPr>
          <p:cNvPicPr>
            <a:picLocks noChangeAspect="1"/>
          </p:cNvPicPr>
          <p:nvPr/>
        </p:nvPicPr>
        <p:blipFill rotWithShape="1">
          <a:blip r:embed="rId5"/>
          <a:srcRect l="37666" t="55848" r="56640" b="33934"/>
          <a:stretch/>
        </p:blipFill>
        <p:spPr>
          <a:xfrm>
            <a:off x="8359884" y="2893854"/>
            <a:ext cx="520703" cy="525554"/>
          </a:xfrm>
          <a:prstGeom prst="rect">
            <a:avLst/>
          </a:prstGeom>
        </p:spPr>
      </p:pic>
      <p:sp>
        <p:nvSpPr>
          <p:cNvPr id="17" name="TextBox 16">
            <a:extLst>
              <a:ext uri="{FF2B5EF4-FFF2-40B4-BE49-F238E27FC236}">
                <a16:creationId xmlns:a16="http://schemas.microsoft.com/office/drawing/2014/main" id="{CDD386CD-3896-EDCD-2D66-9D016BB0CA5F}"/>
              </a:ext>
            </a:extLst>
          </p:cNvPr>
          <p:cNvSpPr txBox="1"/>
          <p:nvPr/>
        </p:nvSpPr>
        <p:spPr>
          <a:xfrm>
            <a:off x="8527278" y="3440725"/>
            <a:ext cx="769401" cy="175936"/>
          </a:xfrm>
          <a:prstGeom prst="rect">
            <a:avLst/>
          </a:prstGeom>
          <a:noFill/>
        </p:spPr>
        <p:txBody>
          <a:bodyPr wrap="square" lIns="0" tIns="0" rIns="0" bIns="0" rtlCol="0">
            <a:noAutofit/>
          </a:bodyPr>
          <a:lstStyle/>
          <a:p>
            <a:r>
              <a:rPr lang="en-SG" sz="700" dirty="0">
                <a:latin typeface="Colour Sans" panose="02000503030000020004" pitchFamily="2" charset="0"/>
              </a:rPr>
              <a:t>Reduces </a:t>
            </a:r>
          </a:p>
          <a:p>
            <a:r>
              <a:rPr lang="en-SG" sz="700" dirty="0">
                <a:latin typeface="Colour Sans" panose="02000503030000020004" pitchFamily="2" charset="0"/>
              </a:rPr>
              <a:t>Shrinkage</a:t>
            </a:r>
          </a:p>
        </p:txBody>
      </p:sp>
      <p:pic>
        <p:nvPicPr>
          <p:cNvPr id="4" name="Picture 3">
            <a:extLst>
              <a:ext uri="{FF2B5EF4-FFF2-40B4-BE49-F238E27FC236}">
                <a16:creationId xmlns:a16="http://schemas.microsoft.com/office/drawing/2014/main" id="{CFC2E011-0BA8-F6B2-3F5A-850A95F359B5}"/>
              </a:ext>
            </a:extLst>
          </p:cNvPr>
          <p:cNvPicPr>
            <a:picLocks noChangeAspect="1"/>
          </p:cNvPicPr>
          <p:nvPr/>
        </p:nvPicPr>
        <p:blipFill>
          <a:blip r:embed="rId6"/>
          <a:stretch>
            <a:fillRect/>
          </a:stretch>
        </p:blipFill>
        <p:spPr>
          <a:xfrm>
            <a:off x="5508933" y="521126"/>
            <a:ext cx="2236388" cy="1675132"/>
          </a:xfrm>
          <a:prstGeom prst="rect">
            <a:avLst/>
          </a:prstGeom>
        </p:spPr>
      </p:pic>
    </p:spTree>
    <p:extLst>
      <p:ext uri="{BB962C8B-B14F-4D97-AF65-F5344CB8AC3E}">
        <p14:creationId xmlns:p14="http://schemas.microsoft.com/office/powerpoint/2010/main" val="1073676606"/>
      </p:ext>
    </p:extLst>
  </p:cSld>
  <p:clrMapOvr>
    <a:masterClrMapping/>
  </p:clrMapOvr>
  <p:transition spd="slow">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0FE9E8B9-9166-41CB-A93E-5142C1B33C65}"/>
              </a:ext>
            </a:extLst>
          </p:cNvPr>
          <p:cNvSpPr/>
          <p:nvPr/>
        </p:nvSpPr>
        <p:spPr>
          <a:xfrm>
            <a:off x="0" y="4186410"/>
            <a:ext cx="9144000" cy="9570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id-ID" dirty="0" err="1"/>
          </a:p>
        </p:txBody>
      </p:sp>
      <p:sp>
        <p:nvSpPr>
          <p:cNvPr id="15" name="TextBox 14">
            <a:extLst>
              <a:ext uri="{FF2B5EF4-FFF2-40B4-BE49-F238E27FC236}">
                <a16:creationId xmlns:a16="http://schemas.microsoft.com/office/drawing/2014/main" id="{35B8EBFE-6A0A-4E91-A5AE-F0A5A0A94A86}"/>
              </a:ext>
            </a:extLst>
          </p:cNvPr>
          <p:cNvSpPr txBox="1"/>
          <p:nvPr/>
        </p:nvSpPr>
        <p:spPr>
          <a:xfrm>
            <a:off x="319540" y="875484"/>
            <a:ext cx="1293057" cy="344867"/>
          </a:xfrm>
          <a:prstGeom prst="rect">
            <a:avLst/>
          </a:prstGeom>
          <a:noFill/>
        </p:spPr>
        <p:txBody>
          <a:bodyPr wrap="square" lIns="0" tIns="0" rIns="0" bIns="0" rtlCol="0" anchor="t">
            <a:noAutofit/>
          </a:bodyPr>
          <a:lstStyle/>
          <a:p>
            <a:pPr marL="285750" indent="-285750">
              <a:buFont typeface="Wingdings" panose="05000000000000000000" pitchFamily="2" charset="2"/>
              <a:buChar char="v"/>
            </a:pPr>
            <a:r>
              <a:rPr lang="en-US" sz="1200" dirty="0">
                <a:solidFill>
                  <a:schemeClr val="bg1"/>
                </a:solidFill>
              </a:rPr>
              <a:t>P</a:t>
            </a:r>
            <a:r>
              <a:rPr lang="id-ID" sz="1200" dirty="0">
                <a:solidFill>
                  <a:schemeClr val="bg1"/>
                </a:solidFill>
              </a:rPr>
              <a:t>roblems</a:t>
            </a:r>
            <a:endParaRPr lang="id-ID" sz="1200" b="0" dirty="0">
              <a:solidFill>
                <a:schemeClr val="bg1"/>
              </a:solidFill>
              <a:cs typeface="Arial"/>
            </a:endParaRPr>
          </a:p>
        </p:txBody>
      </p:sp>
      <p:sp>
        <p:nvSpPr>
          <p:cNvPr id="25" name="TextBox 24">
            <a:extLst>
              <a:ext uri="{FF2B5EF4-FFF2-40B4-BE49-F238E27FC236}">
                <a16:creationId xmlns:a16="http://schemas.microsoft.com/office/drawing/2014/main" id="{15129A85-8D3A-45E4-9DFF-626CF28B8D6A}"/>
              </a:ext>
            </a:extLst>
          </p:cNvPr>
          <p:cNvSpPr txBox="1"/>
          <p:nvPr/>
        </p:nvSpPr>
        <p:spPr>
          <a:xfrm>
            <a:off x="359472" y="2145993"/>
            <a:ext cx="1293057" cy="344867"/>
          </a:xfrm>
          <a:prstGeom prst="rect">
            <a:avLst/>
          </a:prstGeom>
          <a:noFill/>
        </p:spPr>
        <p:txBody>
          <a:bodyPr wrap="square" lIns="0" tIns="0" rIns="0" bIns="0" rtlCol="0" anchor="t">
            <a:noAutofit/>
          </a:bodyPr>
          <a:lstStyle>
            <a:defPPr>
              <a:defRPr lang="nl-NL"/>
            </a:defPPr>
            <a:lvl1pPr marL="285750" indent="-285750">
              <a:buFont typeface="Wingdings" panose="05000000000000000000" pitchFamily="2" charset="2"/>
              <a:buChar char="v"/>
              <a:defRPr sz="1600"/>
            </a:lvl1pPr>
          </a:lstStyle>
          <a:p>
            <a:r>
              <a:rPr lang="en-US" sz="1200" dirty="0">
                <a:solidFill>
                  <a:schemeClr val="bg1"/>
                </a:solidFill>
              </a:rPr>
              <a:t>S</a:t>
            </a:r>
            <a:r>
              <a:rPr lang="id-ID" sz="1200" dirty="0">
                <a:solidFill>
                  <a:schemeClr val="bg1"/>
                </a:solidFill>
              </a:rPr>
              <a:t>olution</a:t>
            </a:r>
          </a:p>
        </p:txBody>
      </p:sp>
      <p:sp>
        <p:nvSpPr>
          <p:cNvPr id="20" name="TextBox 19">
            <a:extLst>
              <a:ext uri="{FF2B5EF4-FFF2-40B4-BE49-F238E27FC236}">
                <a16:creationId xmlns:a16="http://schemas.microsoft.com/office/drawing/2014/main" id="{5FF7CA16-FD6D-4F13-9106-DEE88E5E669F}"/>
              </a:ext>
            </a:extLst>
          </p:cNvPr>
          <p:cNvSpPr txBox="1"/>
          <p:nvPr/>
        </p:nvSpPr>
        <p:spPr>
          <a:xfrm>
            <a:off x="359472" y="3269007"/>
            <a:ext cx="1293057" cy="344867"/>
          </a:xfrm>
          <a:prstGeom prst="rect">
            <a:avLst/>
          </a:prstGeom>
          <a:noFill/>
        </p:spPr>
        <p:txBody>
          <a:bodyPr wrap="square" lIns="0" tIns="0" rIns="0" bIns="0" rtlCol="0" anchor="t">
            <a:noAutofit/>
          </a:bodyPr>
          <a:lstStyle>
            <a:defPPr>
              <a:defRPr lang="nl-NL"/>
            </a:defPPr>
            <a:lvl1pPr marL="285750" indent="-285750">
              <a:buFont typeface="Wingdings" panose="05000000000000000000" pitchFamily="2" charset="2"/>
              <a:buChar char="v"/>
              <a:defRPr sz="1600"/>
            </a:lvl1pPr>
          </a:lstStyle>
          <a:p>
            <a:r>
              <a:rPr lang="en-US" sz="1200" dirty="0">
                <a:solidFill>
                  <a:schemeClr val="bg1"/>
                </a:solidFill>
              </a:rPr>
              <a:t>B</a:t>
            </a:r>
            <a:r>
              <a:rPr lang="id-ID" sz="1200" dirty="0">
                <a:solidFill>
                  <a:schemeClr val="bg1"/>
                </a:solidFill>
              </a:rPr>
              <a:t>enefit</a:t>
            </a:r>
          </a:p>
        </p:txBody>
      </p:sp>
      <p:sp>
        <p:nvSpPr>
          <p:cNvPr id="21" name="TextBox 20">
            <a:extLst>
              <a:ext uri="{FF2B5EF4-FFF2-40B4-BE49-F238E27FC236}">
                <a16:creationId xmlns:a16="http://schemas.microsoft.com/office/drawing/2014/main" id="{AF2C3DDA-4E81-477E-AC72-0A80BD1729E1}"/>
              </a:ext>
            </a:extLst>
          </p:cNvPr>
          <p:cNvSpPr txBox="1"/>
          <p:nvPr/>
        </p:nvSpPr>
        <p:spPr>
          <a:xfrm>
            <a:off x="645912" y="3472572"/>
            <a:ext cx="5699804" cy="192734"/>
          </a:xfrm>
          <a:prstGeom prst="rect">
            <a:avLst/>
          </a:prstGeom>
          <a:noFill/>
        </p:spPr>
        <p:txBody>
          <a:bodyPr wrap="square" lIns="0" tIns="0" rIns="0" bIns="0" rtlCol="0" anchor="t">
            <a:noAutofit/>
          </a:bodyPr>
          <a:lstStyle/>
          <a:p>
            <a:r>
              <a:rPr lang="en-US" sz="900" dirty="0">
                <a:solidFill>
                  <a:schemeClr val="bg1"/>
                </a:solidFill>
              </a:rPr>
              <a:t>Keep walls and flooring in wet areas a good as new.</a:t>
            </a:r>
          </a:p>
        </p:txBody>
      </p:sp>
      <p:sp>
        <p:nvSpPr>
          <p:cNvPr id="27" name="TextBox 26">
            <a:extLst>
              <a:ext uri="{FF2B5EF4-FFF2-40B4-BE49-F238E27FC236}">
                <a16:creationId xmlns:a16="http://schemas.microsoft.com/office/drawing/2014/main" id="{01ECFCD0-FF37-4633-B624-8B6BCB4B9C4E}"/>
              </a:ext>
            </a:extLst>
          </p:cNvPr>
          <p:cNvSpPr txBox="1"/>
          <p:nvPr/>
        </p:nvSpPr>
        <p:spPr>
          <a:xfrm>
            <a:off x="23550" y="3555829"/>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graphicFrame>
        <p:nvGraphicFramePr>
          <p:cNvPr id="30" name="Table 29">
            <a:extLst>
              <a:ext uri="{FF2B5EF4-FFF2-40B4-BE49-F238E27FC236}">
                <a16:creationId xmlns:a16="http://schemas.microsoft.com/office/drawing/2014/main" id="{3A756372-B2AD-4FD4-B1B0-5EE53F5BF707}"/>
              </a:ext>
            </a:extLst>
          </p:cNvPr>
          <p:cNvGraphicFramePr>
            <a:graphicFrameLocks noGrp="1"/>
          </p:cNvGraphicFramePr>
          <p:nvPr>
            <p:extLst>
              <p:ext uri="{D42A27DB-BD31-4B8C-83A1-F6EECF244321}">
                <p14:modId xmlns:p14="http://schemas.microsoft.com/office/powerpoint/2010/main" val="3086422762"/>
              </p:ext>
            </p:extLst>
          </p:nvPr>
        </p:nvGraphicFramePr>
        <p:xfrm>
          <a:off x="91275" y="3891947"/>
          <a:ext cx="3272865" cy="1174390"/>
        </p:xfrm>
        <a:graphic>
          <a:graphicData uri="http://schemas.openxmlformats.org/drawingml/2006/table">
            <a:tbl>
              <a:tblPr firstRow="1" bandRow="1">
                <a:tableStyleId>{2D5ABB26-0587-4C30-8999-92F81FD0307C}</a:tableStyleId>
              </a:tblPr>
              <a:tblGrid>
                <a:gridCol w="1037853">
                  <a:extLst>
                    <a:ext uri="{9D8B030D-6E8A-4147-A177-3AD203B41FA5}">
                      <a16:colId xmlns:a16="http://schemas.microsoft.com/office/drawing/2014/main" val="2714193207"/>
                    </a:ext>
                  </a:extLst>
                </a:gridCol>
                <a:gridCol w="2235012">
                  <a:extLst>
                    <a:ext uri="{9D8B030D-6E8A-4147-A177-3AD203B41FA5}">
                      <a16:colId xmlns:a16="http://schemas.microsoft.com/office/drawing/2014/main" val="402161752"/>
                    </a:ext>
                  </a:extLst>
                </a:gridCol>
              </a:tblGrid>
              <a:tr h="256001">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Applica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Interior &amp; Exterior Durabl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397625">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1.8-2.0 m2/</a:t>
                      </a:r>
                      <a:r>
                        <a:rPr lang="en-US" sz="900" dirty="0" err="1">
                          <a:latin typeface="Colour Sans" panose="02000503030000020004"/>
                        </a:rPr>
                        <a:t>lt</a:t>
                      </a:r>
                      <a:r>
                        <a:rPr lang="en-US" sz="900" dirty="0">
                          <a:latin typeface="Colour Sans" panose="02000503030000020004"/>
                        </a:rPr>
                        <a:t>/coat for Bond </a:t>
                      </a:r>
                      <a:r>
                        <a:rPr lang="en-US" sz="900" dirty="0" err="1">
                          <a:latin typeface="Colour Sans" panose="02000503030000020004"/>
                        </a:rPr>
                        <a:t>Coar</a:t>
                      </a:r>
                      <a:endParaRPr lang="en-US" sz="900" dirty="0">
                        <a:latin typeface="Colour Sans" panose="02000503030000020004"/>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56001">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Finis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NA</a:t>
                      </a:r>
                      <a:endPar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64763">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31" name="Table 30">
            <a:extLst>
              <a:ext uri="{FF2B5EF4-FFF2-40B4-BE49-F238E27FC236}">
                <a16:creationId xmlns:a16="http://schemas.microsoft.com/office/drawing/2014/main" id="{21F3BBCC-555E-44BE-8B32-70E4760B4940}"/>
              </a:ext>
            </a:extLst>
          </p:cNvPr>
          <p:cNvGraphicFramePr>
            <a:graphicFrameLocks noGrp="1"/>
          </p:cNvGraphicFramePr>
          <p:nvPr>
            <p:extLst>
              <p:ext uri="{D42A27DB-BD31-4B8C-83A1-F6EECF244321}">
                <p14:modId xmlns:p14="http://schemas.microsoft.com/office/powerpoint/2010/main" val="1474504987"/>
              </p:ext>
            </p:extLst>
          </p:nvPr>
        </p:nvGraphicFramePr>
        <p:xfrm>
          <a:off x="3439513" y="3910042"/>
          <a:ext cx="3614969" cy="1156296"/>
        </p:xfrm>
        <a:graphic>
          <a:graphicData uri="http://schemas.openxmlformats.org/drawingml/2006/table">
            <a:tbl>
              <a:tblPr firstRow="1" bandRow="1">
                <a:tableStyleId>{2D5ABB26-0587-4C30-8999-92F81FD0307C}</a:tableStyleId>
              </a:tblPr>
              <a:tblGrid>
                <a:gridCol w="1474631">
                  <a:extLst>
                    <a:ext uri="{9D8B030D-6E8A-4147-A177-3AD203B41FA5}">
                      <a16:colId xmlns:a16="http://schemas.microsoft.com/office/drawing/2014/main" val="3738590716"/>
                    </a:ext>
                  </a:extLst>
                </a:gridCol>
                <a:gridCol w="2140338">
                  <a:extLst>
                    <a:ext uri="{9D8B030D-6E8A-4147-A177-3AD203B41FA5}">
                      <a16:colId xmlns:a16="http://schemas.microsoft.com/office/drawing/2014/main" val="3750538898"/>
                    </a:ext>
                  </a:extLst>
                </a:gridCol>
              </a:tblGrid>
              <a:tr h="202552">
                <a:tc>
                  <a:txBody>
                    <a:bodyPr/>
                    <a:lstStyle/>
                    <a:p>
                      <a:pPr marL="0" indent="85725" algn="l" fontAlgn="b"/>
                      <a:r>
                        <a:rPr lang="en-SG" sz="900" b="0" i="0" u="none" strike="noStrike">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proofing Substrat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Repairing damaged concrete, columns, beams, and </a:t>
                      </a:r>
                      <a:r>
                        <a:rPr kumimoji="0" lang="en-US" sz="900" b="0" i="0" u="none" strike="noStrike" kern="1200" cap="none" spc="0" normalizeH="0" baseline="0" noProof="0" dirty="0" err="1">
                          <a:ln>
                            <a:noFill/>
                          </a:ln>
                          <a:solidFill>
                            <a:srgbClr val="000000"/>
                          </a:solidFill>
                          <a:effectLst/>
                          <a:uLnTx/>
                          <a:uFillTx/>
                          <a:latin typeface="Colour Sans" panose="02000503030000020004" pitchFamily="2" charset="0"/>
                          <a:ea typeface="+mn-ea"/>
                          <a:cs typeface="+mn-cs"/>
                        </a:rPr>
                        <a:t>chajjas</a:t>
                      </a:r>
                      <a:r>
                        <a:rPr kumimoji="0" lang="en-US"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 </a:t>
                      </a:r>
                    </a:p>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Also used for waterproofing of toilets, balconies, and sunken area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202552">
                <a:tc>
                  <a:txBody>
                    <a:bodyPr/>
                    <a:lstStyle/>
                    <a:p>
                      <a:pPr marL="0" indent="85725" algn="l" fontAlgn="b"/>
                      <a:r>
                        <a:rPr lang="en-US" sz="900" b="0" u="none" strike="noStrike" dirty="0">
                          <a:effectLst/>
                          <a:latin typeface="Colour Sans" panose="02000503030000020004" pitchFamily="2" charset="0"/>
                          <a:ea typeface="Open Sans" panose="020B0606030504020204" pitchFamily="34" charset="0"/>
                          <a:cs typeface="Open Sans" panose="020B0606030504020204" pitchFamily="34" charset="0"/>
                        </a:rPr>
                        <a:t>Performanc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alibri" panose="020F0502020204030204" pitchFamily="34" charset="0"/>
                          <a:cs typeface="Calibri" panose="020F0502020204030204" pitchFamily="34" charset="0"/>
                        </a:rPr>
                        <a:t>Resistance to water pressure is 2-3 bars</a:t>
                      </a:r>
                      <a:endPar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202552">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icroorganism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dirty="0">
                          <a:latin typeface="Calibri" panose="020F0502020204030204" pitchFamily="34" charset="0"/>
                          <a:cs typeface="Calibri" panose="020F0502020204030204" pitchFamily="34" charset="0"/>
                        </a:rPr>
                        <a:t>  </a:t>
                      </a:r>
                      <a:r>
                        <a:rPr lang="id-ID" sz="900" dirty="0">
                          <a:latin typeface="Calibri" panose="020F0502020204030204" pitchFamily="34" charset="0"/>
                          <a:cs typeface="Calibri" panose="020F0502020204030204" pitchFamily="34" charset="0"/>
                        </a:rPr>
                        <a:t> </a:t>
                      </a:r>
                      <a:r>
                        <a:rPr lang="en-US" sz="900" kern="1200" dirty="0">
                          <a:solidFill>
                            <a:schemeClr val="tx1"/>
                          </a:solidFill>
                          <a:latin typeface="Calibri" panose="020F0502020204030204" pitchFamily="34" charset="0"/>
                          <a:ea typeface="+mn-ea"/>
                          <a:cs typeface="Calibri" panose="020F0502020204030204" pitchFamily="34" charset="0"/>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202552">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Crack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endPar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40" name="TextBox 39">
            <a:extLst>
              <a:ext uri="{FF2B5EF4-FFF2-40B4-BE49-F238E27FC236}">
                <a16:creationId xmlns:a16="http://schemas.microsoft.com/office/drawing/2014/main" id="{068E00DB-F5C1-49B9-A3B0-8B9A828D9A3A}"/>
              </a:ext>
            </a:extLst>
          </p:cNvPr>
          <p:cNvSpPr txBox="1"/>
          <p:nvPr/>
        </p:nvSpPr>
        <p:spPr>
          <a:xfrm>
            <a:off x="7663851" y="4643857"/>
            <a:ext cx="1322004" cy="368595"/>
          </a:xfrm>
          <a:prstGeom prst="rect">
            <a:avLst/>
          </a:prstGeom>
          <a:noFill/>
        </p:spPr>
        <p:txBody>
          <a:bodyPr wrap="square" lIns="0" tIns="0" rIns="0" bIns="0" rtlCol="0" anchor="t">
            <a:noAutofit/>
          </a:bodyPr>
          <a:lstStyle/>
          <a:p>
            <a:endParaRPr lang="en-US" sz="900" b="1" dirty="0">
              <a:solidFill>
                <a:srgbClr val="005192"/>
              </a:solidFill>
            </a:endParaRPr>
          </a:p>
        </p:txBody>
      </p:sp>
      <p:graphicFrame>
        <p:nvGraphicFramePr>
          <p:cNvPr id="24" name="Table 5">
            <a:extLst>
              <a:ext uri="{FF2B5EF4-FFF2-40B4-BE49-F238E27FC236}">
                <a16:creationId xmlns:a16="http://schemas.microsoft.com/office/drawing/2014/main" id="{D996990A-6938-4438-A748-83075D9A816E}"/>
              </a:ext>
            </a:extLst>
          </p:cNvPr>
          <p:cNvGraphicFramePr>
            <a:graphicFrameLocks noGrp="1"/>
          </p:cNvGraphicFramePr>
          <p:nvPr>
            <p:extLst>
              <p:ext uri="{D42A27DB-BD31-4B8C-83A1-F6EECF244321}">
                <p14:modId xmlns:p14="http://schemas.microsoft.com/office/powerpoint/2010/main" val="3931321623"/>
              </p:ext>
            </p:extLst>
          </p:nvPr>
        </p:nvGraphicFramePr>
        <p:xfrm>
          <a:off x="34156" y="473544"/>
          <a:ext cx="5399969" cy="3034073"/>
        </p:xfrm>
        <a:graphic>
          <a:graphicData uri="http://schemas.openxmlformats.org/drawingml/2006/table">
            <a:tbl>
              <a:tblPr firstRow="1" bandRow="1">
                <a:tableStyleId>{5940675A-B579-460E-94D1-54222C63F5DA}</a:tableStyleId>
              </a:tblPr>
              <a:tblGrid>
                <a:gridCol w="5399969">
                  <a:extLst>
                    <a:ext uri="{9D8B030D-6E8A-4147-A177-3AD203B41FA5}">
                      <a16:colId xmlns:a16="http://schemas.microsoft.com/office/drawing/2014/main" val="965239065"/>
                    </a:ext>
                  </a:extLst>
                </a:gridCol>
              </a:tblGrid>
              <a:tr h="157809">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724066">
                <a:tc>
                  <a:txBody>
                    <a:bodyPr/>
                    <a:lstStyle/>
                    <a:p>
                      <a:r>
                        <a:rPr lang="en-US" sz="900" dirty="0"/>
                        <a:t>Our house is our pride and biggest investment, built to last for generations. In our humid climate dampness and water seepage impacts the structure and safety of our house. </a:t>
                      </a:r>
                    </a:p>
                    <a:p>
                      <a:pPr marL="171450" indent="-171450">
                        <a:buFont typeface="Wingdings" panose="05000000000000000000" pitchFamily="2" charset="2"/>
                        <a:buChar char="ü"/>
                      </a:pPr>
                      <a:r>
                        <a:rPr lang="en-US" sz="900" dirty="0"/>
                        <a:t>How can be rest assured that I’ve prevented any kind of water leaking &amp; seepage issues for my house?</a:t>
                      </a:r>
                    </a:p>
                    <a:p>
                      <a:pPr marL="171450" indent="-171450">
                        <a:buFont typeface="Wingdings" panose="05000000000000000000" pitchFamily="2" charset="2"/>
                        <a:buChar char="ü"/>
                      </a:pPr>
                      <a:r>
                        <a:rPr lang="en-US" sz="900" dirty="0"/>
                        <a:t>I need a thorough and long lasting solution to get the dampness out and prevent it from coming b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157809">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640520">
                <a:tc>
                  <a:txBody>
                    <a:bodyPr/>
                    <a:lstStyle/>
                    <a:p>
                      <a:r>
                        <a:rPr lang="en-US" sz="900" b="0" i="0" u="none" strike="noStrike" kern="1200" baseline="0" dirty="0">
                          <a:solidFill>
                            <a:schemeClr val="tx1"/>
                          </a:solidFill>
                          <a:latin typeface="+mn-lt"/>
                          <a:ea typeface="+mn-ea"/>
                          <a:cs typeface="+mn-cs"/>
                        </a:rPr>
                        <a:t>Dulux </a:t>
                      </a:r>
                      <a:r>
                        <a:rPr lang="en-US" sz="900" b="0" i="0" u="none" strike="noStrike" kern="1200" baseline="0" dirty="0" err="1">
                          <a:solidFill>
                            <a:schemeClr val="tx1"/>
                          </a:solidFill>
                          <a:latin typeface="+mn-lt"/>
                          <a:ea typeface="+mn-ea"/>
                          <a:cs typeface="+mn-cs"/>
                        </a:rPr>
                        <a:t>Aquatech</a:t>
                      </a:r>
                      <a:r>
                        <a:rPr lang="en-US" sz="900" b="0" i="0" u="none" strike="noStrike" kern="1200" baseline="0" dirty="0">
                          <a:solidFill>
                            <a:schemeClr val="tx1"/>
                          </a:solidFill>
                          <a:latin typeface="+mn-lt"/>
                          <a:ea typeface="+mn-ea"/>
                          <a:cs typeface="+mn-cs"/>
                        </a:rPr>
                        <a:t> Repair Pro Latex is a superior performing modified SBR (Styrene Butadiene Rubber) based repair polymer. It is used for the repair of old concrete, columns, beams, </a:t>
                      </a:r>
                      <a:r>
                        <a:rPr lang="en-US" sz="900" b="0" i="0" u="none" strike="noStrike" kern="1200" baseline="0" dirty="0" err="1">
                          <a:solidFill>
                            <a:schemeClr val="tx1"/>
                          </a:solidFill>
                          <a:latin typeface="+mn-lt"/>
                          <a:ea typeface="+mn-ea"/>
                          <a:cs typeface="+mn-cs"/>
                        </a:rPr>
                        <a:t>chajjas</a:t>
                      </a:r>
                      <a:r>
                        <a:rPr lang="en-US" sz="900" b="0" i="0" u="none" strike="noStrike" kern="1200" baseline="0" dirty="0">
                          <a:solidFill>
                            <a:schemeClr val="tx1"/>
                          </a:solidFill>
                          <a:latin typeface="+mn-lt"/>
                          <a:ea typeface="+mn-ea"/>
                          <a:cs typeface="+mn-cs"/>
                        </a:rPr>
                        <a:t>, waterproofing of toilets, balconies and sinking areas. It reduces shrinkage of concrete &amp; thereby does not let crack form in the concrete even after multiple years. It contains plasticizers that improves the workability of the cement mix at low water ratios, providing better cohesion &amp; bonding.</a:t>
                      </a:r>
                    </a:p>
                    <a:p>
                      <a:endParaRPr lang="en-US" sz="900" b="0" i="0" u="none" strike="noStrike" kern="1200" baseline="0" dirty="0">
                        <a:solidFill>
                          <a:schemeClr val="tx1"/>
                        </a:solidFill>
                        <a:latin typeface="+mn-lt"/>
                        <a:ea typeface="+mn-ea"/>
                        <a:cs typeface="+mn-cs"/>
                      </a:endParaRPr>
                    </a:p>
                    <a:p>
                      <a:r>
                        <a:rPr lang="en-US" sz="900" b="0" i="0" u="none" strike="noStrike" kern="1200" baseline="0" dirty="0">
                          <a:solidFill>
                            <a:schemeClr val="tx1"/>
                          </a:solidFill>
                          <a:latin typeface="+mn-lt"/>
                          <a:ea typeface="+mn-ea"/>
                          <a:cs typeface="+mn-cs"/>
                        </a:rPr>
                        <a:t>Can be used as an additive in Bond Coat, Repair Mortar, </a:t>
                      </a:r>
                      <a:r>
                        <a:rPr lang="en-US" sz="900" b="0" i="0" u="none" strike="noStrike" kern="1200" baseline="0" dirty="0" err="1">
                          <a:solidFill>
                            <a:schemeClr val="tx1"/>
                          </a:solidFill>
                          <a:latin typeface="+mn-lt"/>
                          <a:ea typeface="+mn-ea"/>
                          <a:cs typeface="+mn-cs"/>
                        </a:rPr>
                        <a:t>Warterproofing</a:t>
                      </a:r>
                      <a:r>
                        <a:rPr lang="en-US" sz="900" b="0" i="0" u="none" strike="noStrike" kern="1200" baseline="0" dirty="0">
                          <a:solidFill>
                            <a:schemeClr val="tx1"/>
                          </a:solidFill>
                          <a:latin typeface="+mn-lt"/>
                          <a:ea typeface="+mn-ea"/>
                          <a:cs typeface="+mn-cs"/>
                        </a:rPr>
                        <a:t> Coat, Concrete Repai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157809">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290873">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dirty="0">
                          <a:latin typeface="+mn-lt"/>
                          <a:ea typeface="Open Sans" panose="020B0606030504020204" pitchFamily="34" charset="0"/>
                          <a:cs typeface="Open Sans" panose="020B0606030504020204" pitchFamily="34" charset="0"/>
                        </a:rPr>
                        <a:t>Stay worry free when it comes to protection of my house from any dampness and seepages issues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36" name="TextBox 35">
            <a:extLst>
              <a:ext uri="{FF2B5EF4-FFF2-40B4-BE49-F238E27FC236}">
                <a16:creationId xmlns:a16="http://schemas.microsoft.com/office/drawing/2014/main" id="{183EFC43-42B0-4D8E-8EC6-0D424CDB0B90}"/>
              </a:ext>
            </a:extLst>
          </p:cNvPr>
          <p:cNvSpPr txBox="1"/>
          <p:nvPr/>
        </p:nvSpPr>
        <p:spPr>
          <a:xfrm>
            <a:off x="7705720" y="2143199"/>
            <a:ext cx="1473046" cy="214251"/>
          </a:xfrm>
          <a:prstGeom prst="rect">
            <a:avLst/>
          </a:prstGeom>
          <a:noFill/>
        </p:spPr>
        <p:txBody>
          <a:bodyPr wrap="square" lIns="0" tIns="0" rIns="0" bIns="0" rtlCol="0">
            <a:noAutofit/>
          </a:bodyPr>
          <a:lstStyle/>
          <a:p>
            <a:pPr algn="ctr"/>
            <a:r>
              <a:rPr lang="en-SG" sz="1050" b="1" dirty="0">
                <a:latin typeface="Colour Sans" panose="02000503030000020004" pitchFamily="2" charset="0"/>
              </a:rPr>
              <a:t>Available in</a:t>
            </a:r>
          </a:p>
          <a:p>
            <a:pPr algn="ctr"/>
            <a:r>
              <a:rPr lang="en-US" sz="1050" dirty="0">
                <a:latin typeface="Colour Sans" panose="02000503030000020004" pitchFamily="2" charset="0"/>
              </a:rPr>
              <a:t>0.5Kg, </a:t>
            </a:r>
            <a:r>
              <a:rPr lang="id-ID" sz="1050" dirty="0">
                <a:latin typeface="Colour Sans" panose="02000503030000020004" pitchFamily="2" charset="0"/>
              </a:rPr>
              <a:t>1Kg, </a:t>
            </a:r>
            <a:r>
              <a:rPr lang="en-SG" sz="1050" dirty="0">
                <a:latin typeface="Colour Sans" panose="02000503030000020004" pitchFamily="2" charset="0"/>
              </a:rPr>
              <a:t>5K</a:t>
            </a:r>
            <a:r>
              <a:rPr lang="id-ID" sz="1050" dirty="0">
                <a:latin typeface="Colour Sans" panose="02000503030000020004" pitchFamily="2" charset="0"/>
              </a:rPr>
              <a:t>g</a:t>
            </a:r>
            <a:r>
              <a:rPr lang="en-SG" sz="1050" dirty="0">
                <a:latin typeface="Colour Sans" panose="02000503030000020004" pitchFamily="2" charset="0"/>
              </a:rPr>
              <a:t> &amp; 20K</a:t>
            </a:r>
            <a:r>
              <a:rPr lang="id-ID" sz="1050" dirty="0">
                <a:latin typeface="Colour Sans" panose="02000503030000020004" pitchFamily="2" charset="0"/>
              </a:rPr>
              <a:t>g</a:t>
            </a:r>
            <a:endParaRPr lang="en-SG" sz="1050" dirty="0">
              <a:latin typeface="Colour Sans" panose="02000503030000020004" pitchFamily="2" charset="0"/>
            </a:endParaRPr>
          </a:p>
        </p:txBody>
      </p:sp>
      <p:sp>
        <p:nvSpPr>
          <p:cNvPr id="3" name="Title 7">
            <a:extLst>
              <a:ext uri="{FF2B5EF4-FFF2-40B4-BE49-F238E27FC236}">
                <a16:creationId xmlns:a16="http://schemas.microsoft.com/office/drawing/2014/main" id="{4EA0FFC2-C11C-B831-BFF8-945E81DFA25B}"/>
              </a:ext>
            </a:extLst>
          </p:cNvPr>
          <p:cNvSpPr txBox="1">
            <a:spLocks/>
          </p:cNvSpPr>
          <p:nvPr/>
        </p:nvSpPr>
        <p:spPr bwMode="gray">
          <a:xfrm>
            <a:off x="92692" y="34749"/>
            <a:ext cx="7814525" cy="344867"/>
          </a:xfrm>
          <a:prstGeom prst="rect">
            <a:avLst/>
          </a:prstGeom>
        </p:spPr>
        <p:txBody>
          <a:bodyPr wrap="square" lIns="0" tIns="0" rIns="0" bIns="0" rtlCol="0" anchor="b" anchorCtr="0">
            <a:noAutofit/>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000" dirty="0"/>
              <a:t>Integral - </a:t>
            </a:r>
            <a:r>
              <a:rPr lang="id-ID" sz="2000" dirty="0"/>
              <a:t>Dulux </a:t>
            </a:r>
            <a:r>
              <a:rPr lang="en-US" sz="2000" dirty="0" err="1"/>
              <a:t>Aquatech</a:t>
            </a:r>
            <a:r>
              <a:rPr lang="en-US" sz="2000" dirty="0"/>
              <a:t> Repair Pro latex</a:t>
            </a:r>
            <a:endParaRPr lang="id-ID" sz="2000" b="0" i="1" dirty="0"/>
          </a:p>
        </p:txBody>
      </p:sp>
      <p:pic>
        <p:nvPicPr>
          <p:cNvPr id="4" name="Picture 3">
            <a:extLst>
              <a:ext uri="{FF2B5EF4-FFF2-40B4-BE49-F238E27FC236}">
                <a16:creationId xmlns:a16="http://schemas.microsoft.com/office/drawing/2014/main" id="{CFC2E011-0BA8-F6B2-3F5A-850A95F359B5}"/>
              </a:ext>
            </a:extLst>
          </p:cNvPr>
          <p:cNvPicPr>
            <a:picLocks noChangeAspect="1"/>
          </p:cNvPicPr>
          <p:nvPr/>
        </p:nvPicPr>
        <p:blipFill>
          <a:blip r:embed="rId3"/>
          <a:stretch>
            <a:fillRect/>
          </a:stretch>
        </p:blipFill>
        <p:spPr>
          <a:xfrm>
            <a:off x="5508933" y="521126"/>
            <a:ext cx="2236388" cy="1675132"/>
          </a:xfrm>
          <a:prstGeom prst="rect">
            <a:avLst/>
          </a:prstGeom>
        </p:spPr>
      </p:pic>
      <p:pic>
        <p:nvPicPr>
          <p:cNvPr id="14" name="Picture 13" descr="A plastic container of a liquid&#10;&#10;Description automatically generated with medium confidence">
            <a:extLst>
              <a:ext uri="{FF2B5EF4-FFF2-40B4-BE49-F238E27FC236}">
                <a16:creationId xmlns:a16="http://schemas.microsoft.com/office/drawing/2014/main" id="{B0D33FF5-D0D8-17CA-C8D2-3FA3985B8AC7}"/>
              </a:ext>
            </a:extLst>
          </p:cNvPr>
          <p:cNvPicPr>
            <a:picLocks noChangeAspect="1"/>
          </p:cNvPicPr>
          <p:nvPr/>
        </p:nvPicPr>
        <p:blipFill>
          <a:blip r:embed="rId4"/>
          <a:stretch>
            <a:fillRect/>
          </a:stretch>
        </p:blipFill>
        <p:spPr>
          <a:xfrm>
            <a:off x="8180070" y="670033"/>
            <a:ext cx="646873" cy="1436829"/>
          </a:xfrm>
          <a:prstGeom prst="rect">
            <a:avLst/>
          </a:prstGeom>
        </p:spPr>
      </p:pic>
      <p:pic>
        <p:nvPicPr>
          <p:cNvPr id="19" name="Picture 18" descr="A screen shot of a black background&#10;&#10;Description automatically generated">
            <a:extLst>
              <a:ext uri="{FF2B5EF4-FFF2-40B4-BE49-F238E27FC236}">
                <a16:creationId xmlns:a16="http://schemas.microsoft.com/office/drawing/2014/main" id="{A8D4C571-585C-1FCA-C401-365AFC2306DA}"/>
              </a:ext>
            </a:extLst>
          </p:cNvPr>
          <p:cNvPicPr>
            <a:picLocks noChangeAspect="1"/>
          </p:cNvPicPr>
          <p:nvPr/>
        </p:nvPicPr>
        <p:blipFill rotWithShape="1">
          <a:blip r:embed="rId5"/>
          <a:srcRect r="33748" b="71188"/>
          <a:stretch/>
        </p:blipFill>
        <p:spPr>
          <a:xfrm>
            <a:off x="5140689" y="2414191"/>
            <a:ext cx="2410053" cy="1481959"/>
          </a:xfrm>
          <a:prstGeom prst="rect">
            <a:avLst/>
          </a:prstGeom>
        </p:spPr>
      </p:pic>
      <p:pic>
        <p:nvPicPr>
          <p:cNvPr id="23" name="Picture 22" descr="A screen shot of a black background&#10;&#10;Description automatically generated">
            <a:extLst>
              <a:ext uri="{FF2B5EF4-FFF2-40B4-BE49-F238E27FC236}">
                <a16:creationId xmlns:a16="http://schemas.microsoft.com/office/drawing/2014/main" id="{1FDABBEF-82B8-9DA5-663A-D64F294A2FA2}"/>
              </a:ext>
            </a:extLst>
          </p:cNvPr>
          <p:cNvPicPr>
            <a:picLocks noChangeAspect="1"/>
          </p:cNvPicPr>
          <p:nvPr/>
        </p:nvPicPr>
        <p:blipFill rotWithShape="1">
          <a:blip r:embed="rId5"/>
          <a:srcRect t="32486" b="-1"/>
          <a:stretch/>
        </p:blipFill>
        <p:spPr>
          <a:xfrm>
            <a:off x="7018136" y="2676326"/>
            <a:ext cx="2236389" cy="2307611"/>
          </a:xfrm>
          <a:prstGeom prst="rect">
            <a:avLst/>
          </a:prstGeom>
        </p:spPr>
      </p:pic>
    </p:spTree>
    <p:extLst>
      <p:ext uri="{BB962C8B-B14F-4D97-AF65-F5344CB8AC3E}">
        <p14:creationId xmlns:p14="http://schemas.microsoft.com/office/powerpoint/2010/main" val="3363975978"/>
      </p:ext>
    </p:extLst>
  </p:cSld>
  <p:clrMapOvr>
    <a:masterClrMapping/>
  </p:clrMapOvr>
  <p:transition spd="slow">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0FE9E8B9-9166-41CB-A93E-5142C1B33C65}"/>
              </a:ext>
            </a:extLst>
          </p:cNvPr>
          <p:cNvSpPr/>
          <p:nvPr/>
        </p:nvSpPr>
        <p:spPr>
          <a:xfrm>
            <a:off x="0" y="4186410"/>
            <a:ext cx="9144000" cy="9570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id-ID" dirty="0" err="1"/>
          </a:p>
        </p:txBody>
      </p:sp>
      <p:sp>
        <p:nvSpPr>
          <p:cNvPr id="15" name="TextBox 14">
            <a:extLst>
              <a:ext uri="{FF2B5EF4-FFF2-40B4-BE49-F238E27FC236}">
                <a16:creationId xmlns:a16="http://schemas.microsoft.com/office/drawing/2014/main" id="{35B8EBFE-6A0A-4E91-A5AE-F0A5A0A94A86}"/>
              </a:ext>
            </a:extLst>
          </p:cNvPr>
          <p:cNvSpPr txBox="1"/>
          <p:nvPr/>
        </p:nvSpPr>
        <p:spPr>
          <a:xfrm>
            <a:off x="319540" y="875484"/>
            <a:ext cx="1293057" cy="344867"/>
          </a:xfrm>
          <a:prstGeom prst="rect">
            <a:avLst/>
          </a:prstGeom>
          <a:noFill/>
        </p:spPr>
        <p:txBody>
          <a:bodyPr wrap="square" lIns="0" tIns="0" rIns="0" bIns="0" rtlCol="0" anchor="t">
            <a:noAutofit/>
          </a:bodyPr>
          <a:lstStyle/>
          <a:p>
            <a:pPr marL="285750" indent="-285750">
              <a:buFont typeface="Wingdings" panose="05000000000000000000" pitchFamily="2" charset="2"/>
              <a:buChar char="v"/>
            </a:pPr>
            <a:r>
              <a:rPr lang="en-US" sz="1200" dirty="0">
                <a:solidFill>
                  <a:schemeClr val="bg1"/>
                </a:solidFill>
              </a:rPr>
              <a:t>P</a:t>
            </a:r>
            <a:r>
              <a:rPr lang="id-ID" sz="1200" dirty="0">
                <a:solidFill>
                  <a:schemeClr val="bg1"/>
                </a:solidFill>
              </a:rPr>
              <a:t>roblems</a:t>
            </a:r>
            <a:endParaRPr lang="id-ID" sz="1200" b="0" dirty="0">
              <a:solidFill>
                <a:schemeClr val="bg1"/>
              </a:solidFill>
              <a:cs typeface="Arial"/>
            </a:endParaRPr>
          </a:p>
        </p:txBody>
      </p:sp>
      <p:sp>
        <p:nvSpPr>
          <p:cNvPr id="25" name="TextBox 24">
            <a:extLst>
              <a:ext uri="{FF2B5EF4-FFF2-40B4-BE49-F238E27FC236}">
                <a16:creationId xmlns:a16="http://schemas.microsoft.com/office/drawing/2014/main" id="{15129A85-8D3A-45E4-9DFF-626CF28B8D6A}"/>
              </a:ext>
            </a:extLst>
          </p:cNvPr>
          <p:cNvSpPr txBox="1"/>
          <p:nvPr/>
        </p:nvSpPr>
        <p:spPr>
          <a:xfrm>
            <a:off x="359472" y="2145993"/>
            <a:ext cx="1293057" cy="344867"/>
          </a:xfrm>
          <a:prstGeom prst="rect">
            <a:avLst/>
          </a:prstGeom>
          <a:noFill/>
        </p:spPr>
        <p:txBody>
          <a:bodyPr wrap="square" lIns="0" tIns="0" rIns="0" bIns="0" rtlCol="0" anchor="t">
            <a:noAutofit/>
          </a:bodyPr>
          <a:lstStyle>
            <a:defPPr>
              <a:defRPr lang="nl-NL"/>
            </a:defPPr>
            <a:lvl1pPr marL="285750" indent="-285750">
              <a:buFont typeface="Wingdings" panose="05000000000000000000" pitchFamily="2" charset="2"/>
              <a:buChar char="v"/>
              <a:defRPr sz="1600"/>
            </a:lvl1pPr>
          </a:lstStyle>
          <a:p>
            <a:r>
              <a:rPr lang="en-US" sz="1200" dirty="0">
                <a:solidFill>
                  <a:schemeClr val="bg1"/>
                </a:solidFill>
              </a:rPr>
              <a:t>S</a:t>
            </a:r>
            <a:r>
              <a:rPr lang="id-ID" sz="1200" dirty="0">
                <a:solidFill>
                  <a:schemeClr val="bg1"/>
                </a:solidFill>
              </a:rPr>
              <a:t>olution</a:t>
            </a:r>
          </a:p>
        </p:txBody>
      </p:sp>
      <p:sp>
        <p:nvSpPr>
          <p:cNvPr id="20" name="TextBox 19">
            <a:extLst>
              <a:ext uri="{FF2B5EF4-FFF2-40B4-BE49-F238E27FC236}">
                <a16:creationId xmlns:a16="http://schemas.microsoft.com/office/drawing/2014/main" id="{5FF7CA16-FD6D-4F13-9106-DEE88E5E669F}"/>
              </a:ext>
            </a:extLst>
          </p:cNvPr>
          <p:cNvSpPr txBox="1"/>
          <p:nvPr/>
        </p:nvSpPr>
        <p:spPr>
          <a:xfrm>
            <a:off x="359472" y="3269007"/>
            <a:ext cx="1293057" cy="344867"/>
          </a:xfrm>
          <a:prstGeom prst="rect">
            <a:avLst/>
          </a:prstGeom>
          <a:noFill/>
        </p:spPr>
        <p:txBody>
          <a:bodyPr wrap="square" lIns="0" tIns="0" rIns="0" bIns="0" rtlCol="0" anchor="t">
            <a:noAutofit/>
          </a:bodyPr>
          <a:lstStyle>
            <a:defPPr>
              <a:defRPr lang="nl-NL"/>
            </a:defPPr>
            <a:lvl1pPr marL="285750" indent="-285750">
              <a:buFont typeface="Wingdings" panose="05000000000000000000" pitchFamily="2" charset="2"/>
              <a:buChar char="v"/>
              <a:defRPr sz="1600"/>
            </a:lvl1pPr>
          </a:lstStyle>
          <a:p>
            <a:r>
              <a:rPr lang="en-US" sz="1200" dirty="0">
                <a:solidFill>
                  <a:schemeClr val="bg1"/>
                </a:solidFill>
              </a:rPr>
              <a:t>B</a:t>
            </a:r>
            <a:r>
              <a:rPr lang="id-ID" sz="1200" dirty="0">
                <a:solidFill>
                  <a:schemeClr val="bg1"/>
                </a:solidFill>
              </a:rPr>
              <a:t>enefit</a:t>
            </a:r>
          </a:p>
        </p:txBody>
      </p:sp>
      <p:sp>
        <p:nvSpPr>
          <p:cNvPr id="21" name="TextBox 20">
            <a:extLst>
              <a:ext uri="{FF2B5EF4-FFF2-40B4-BE49-F238E27FC236}">
                <a16:creationId xmlns:a16="http://schemas.microsoft.com/office/drawing/2014/main" id="{AF2C3DDA-4E81-477E-AC72-0A80BD1729E1}"/>
              </a:ext>
            </a:extLst>
          </p:cNvPr>
          <p:cNvSpPr txBox="1"/>
          <p:nvPr/>
        </p:nvSpPr>
        <p:spPr>
          <a:xfrm>
            <a:off x="645912" y="3472572"/>
            <a:ext cx="5699804" cy="192734"/>
          </a:xfrm>
          <a:prstGeom prst="rect">
            <a:avLst/>
          </a:prstGeom>
          <a:noFill/>
        </p:spPr>
        <p:txBody>
          <a:bodyPr wrap="square" lIns="0" tIns="0" rIns="0" bIns="0" rtlCol="0" anchor="t">
            <a:noAutofit/>
          </a:bodyPr>
          <a:lstStyle/>
          <a:p>
            <a:r>
              <a:rPr lang="en-US" sz="900" dirty="0">
                <a:solidFill>
                  <a:schemeClr val="bg1"/>
                </a:solidFill>
              </a:rPr>
              <a:t>Keep walls and flooring in wet areas a good as new.</a:t>
            </a:r>
          </a:p>
        </p:txBody>
      </p:sp>
      <p:sp>
        <p:nvSpPr>
          <p:cNvPr id="27" name="TextBox 26">
            <a:extLst>
              <a:ext uri="{FF2B5EF4-FFF2-40B4-BE49-F238E27FC236}">
                <a16:creationId xmlns:a16="http://schemas.microsoft.com/office/drawing/2014/main" id="{01ECFCD0-FF37-4633-B624-8B6BCB4B9C4E}"/>
              </a:ext>
            </a:extLst>
          </p:cNvPr>
          <p:cNvSpPr txBox="1"/>
          <p:nvPr/>
        </p:nvSpPr>
        <p:spPr>
          <a:xfrm>
            <a:off x="175012" y="3580693"/>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graphicFrame>
        <p:nvGraphicFramePr>
          <p:cNvPr id="30" name="Table 29">
            <a:extLst>
              <a:ext uri="{FF2B5EF4-FFF2-40B4-BE49-F238E27FC236}">
                <a16:creationId xmlns:a16="http://schemas.microsoft.com/office/drawing/2014/main" id="{3A756372-B2AD-4FD4-B1B0-5EE53F5BF707}"/>
              </a:ext>
            </a:extLst>
          </p:cNvPr>
          <p:cNvGraphicFramePr>
            <a:graphicFrameLocks noGrp="1"/>
          </p:cNvGraphicFramePr>
          <p:nvPr>
            <p:extLst>
              <p:ext uri="{D42A27DB-BD31-4B8C-83A1-F6EECF244321}">
                <p14:modId xmlns:p14="http://schemas.microsoft.com/office/powerpoint/2010/main" val="4208541057"/>
              </p:ext>
            </p:extLst>
          </p:nvPr>
        </p:nvGraphicFramePr>
        <p:xfrm>
          <a:off x="242737" y="3916811"/>
          <a:ext cx="3272865" cy="1174390"/>
        </p:xfrm>
        <a:graphic>
          <a:graphicData uri="http://schemas.openxmlformats.org/drawingml/2006/table">
            <a:tbl>
              <a:tblPr firstRow="1" bandRow="1">
                <a:tableStyleId>{2D5ABB26-0587-4C30-8999-92F81FD0307C}</a:tableStyleId>
              </a:tblPr>
              <a:tblGrid>
                <a:gridCol w="1037853">
                  <a:extLst>
                    <a:ext uri="{9D8B030D-6E8A-4147-A177-3AD203B41FA5}">
                      <a16:colId xmlns:a16="http://schemas.microsoft.com/office/drawing/2014/main" val="2714193207"/>
                    </a:ext>
                  </a:extLst>
                </a:gridCol>
                <a:gridCol w="2235012">
                  <a:extLst>
                    <a:ext uri="{9D8B030D-6E8A-4147-A177-3AD203B41FA5}">
                      <a16:colId xmlns:a16="http://schemas.microsoft.com/office/drawing/2014/main" val="402161752"/>
                    </a:ext>
                  </a:extLst>
                </a:gridCol>
              </a:tblGrid>
              <a:tr h="256001">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Applica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Integral Waterproofing</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397625">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Dos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200ml/50Kg Cement</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56001">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Finis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NA</a:t>
                      </a:r>
                      <a:endPar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64763">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31" name="Table 30">
            <a:extLst>
              <a:ext uri="{FF2B5EF4-FFF2-40B4-BE49-F238E27FC236}">
                <a16:creationId xmlns:a16="http://schemas.microsoft.com/office/drawing/2014/main" id="{21F3BBCC-555E-44BE-8B32-70E4760B4940}"/>
              </a:ext>
            </a:extLst>
          </p:cNvPr>
          <p:cNvGraphicFramePr>
            <a:graphicFrameLocks noGrp="1"/>
          </p:cNvGraphicFramePr>
          <p:nvPr/>
        </p:nvGraphicFramePr>
        <p:xfrm>
          <a:off x="3590975" y="3934906"/>
          <a:ext cx="3614969" cy="1156296"/>
        </p:xfrm>
        <a:graphic>
          <a:graphicData uri="http://schemas.openxmlformats.org/drawingml/2006/table">
            <a:tbl>
              <a:tblPr firstRow="1" bandRow="1">
                <a:tableStyleId>{2D5ABB26-0587-4C30-8999-92F81FD0307C}</a:tableStyleId>
              </a:tblPr>
              <a:tblGrid>
                <a:gridCol w="1474631">
                  <a:extLst>
                    <a:ext uri="{9D8B030D-6E8A-4147-A177-3AD203B41FA5}">
                      <a16:colId xmlns:a16="http://schemas.microsoft.com/office/drawing/2014/main" val="3738590716"/>
                    </a:ext>
                  </a:extLst>
                </a:gridCol>
                <a:gridCol w="2140338">
                  <a:extLst>
                    <a:ext uri="{9D8B030D-6E8A-4147-A177-3AD203B41FA5}">
                      <a16:colId xmlns:a16="http://schemas.microsoft.com/office/drawing/2014/main" val="3750538898"/>
                    </a:ext>
                  </a:extLst>
                </a:gridCol>
              </a:tblGrid>
              <a:tr h="202552">
                <a:tc>
                  <a:txBody>
                    <a:bodyPr/>
                    <a:lstStyle/>
                    <a:p>
                      <a:pPr marL="0" indent="85725" algn="l" fontAlgn="b"/>
                      <a:r>
                        <a:rPr lang="en-SG" sz="900" b="0" i="0" u="none" strike="noStrike">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proofing Substrat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Repairing damaged concrete, columns, beams, and </a:t>
                      </a:r>
                      <a:r>
                        <a:rPr kumimoji="0" lang="en-US" sz="900" b="0" i="0" u="none" strike="noStrike" kern="1200" cap="none" spc="0" normalizeH="0" baseline="0" noProof="0" dirty="0" err="1">
                          <a:ln>
                            <a:noFill/>
                          </a:ln>
                          <a:solidFill>
                            <a:srgbClr val="000000"/>
                          </a:solidFill>
                          <a:effectLst/>
                          <a:uLnTx/>
                          <a:uFillTx/>
                          <a:latin typeface="Colour Sans" panose="02000503030000020004" pitchFamily="2" charset="0"/>
                          <a:ea typeface="+mn-ea"/>
                          <a:cs typeface="+mn-cs"/>
                        </a:rPr>
                        <a:t>chajjas</a:t>
                      </a:r>
                      <a:r>
                        <a:rPr kumimoji="0" lang="en-US"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 </a:t>
                      </a:r>
                    </a:p>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Also used for waterproofing of toilets, balconies, and sunken area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202552">
                <a:tc>
                  <a:txBody>
                    <a:bodyPr/>
                    <a:lstStyle/>
                    <a:p>
                      <a:pPr marL="0" indent="85725" algn="l" fontAlgn="b"/>
                      <a:r>
                        <a:rPr lang="en-US" sz="900" b="0" u="none" strike="noStrike" dirty="0">
                          <a:effectLst/>
                          <a:latin typeface="Colour Sans" panose="02000503030000020004" pitchFamily="2" charset="0"/>
                          <a:ea typeface="Open Sans" panose="020B0606030504020204" pitchFamily="34" charset="0"/>
                          <a:cs typeface="Open Sans" panose="020B0606030504020204" pitchFamily="34" charset="0"/>
                        </a:rPr>
                        <a:t>Performanc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alibri" panose="020F0502020204030204" pitchFamily="34" charset="0"/>
                          <a:cs typeface="Calibri" panose="020F0502020204030204" pitchFamily="34" charset="0"/>
                        </a:rPr>
                        <a:t>Resistance to water pressure is 2-3 bars</a:t>
                      </a:r>
                      <a:endPar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202552">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icroorganism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dirty="0">
                          <a:latin typeface="Calibri" panose="020F0502020204030204" pitchFamily="34" charset="0"/>
                          <a:cs typeface="Calibri" panose="020F0502020204030204" pitchFamily="34" charset="0"/>
                        </a:rPr>
                        <a:t>  </a:t>
                      </a:r>
                      <a:r>
                        <a:rPr lang="id-ID" sz="900" dirty="0">
                          <a:latin typeface="Calibri" panose="020F0502020204030204" pitchFamily="34" charset="0"/>
                          <a:cs typeface="Calibri" panose="020F0502020204030204" pitchFamily="34" charset="0"/>
                        </a:rPr>
                        <a:t> </a:t>
                      </a:r>
                      <a:r>
                        <a:rPr lang="en-US" sz="900" kern="1200" dirty="0">
                          <a:solidFill>
                            <a:schemeClr val="tx1"/>
                          </a:solidFill>
                          <a:latin typeface="Calibri" panose="020F0502020204030204" pitchFamily="34" charset="0"/>
                          <a:ea typeface="+mn-ea"/>
                          <a:cs typeface="Calibri" panose="020F0502020204030204" pitchFamily="34" charset="0"/>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202552">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Crack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endPar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40" name="TextBox 39">
            <a:extLst>
              <a:ext uri="{FF2B5EF4-FFF2-40B4-BE49-F238E27FC236}">
                <a16:creationId xmlns:a16="http://schemas.microsoft.com/office/drawing/2014/main" id="{068E00DB-F5C1-49B9-A3B0-8B9A828D9A3A}"/>
              </a:ext>
            </a:extLst>
          </p:cNvPr>
          <p:cNvSpPr txBox="1"/>
          <p:nvPr/>
        </p:nvSpPr>
        <p:spPr>
          <a:xfrm>
            <a:off x="7663851" y="4643857"/>
            <a:ext cx="1322004" cy="368595"/>
          </a:xfrm>
          <a:prstGeom prst="rect">
            <a:avLst/>
          </a:prstGeom>
          <a:noFill/>
        </p:spPr>
        <p:txBody>
          <a:bodyPr wrap="square" lIns="0" tIns="0" rIns="0" bIns="0" rtlCol="0" anchor="t">
            <a:noAutofit/>
          </a:bodyPr>
          <a:lstStyle/>
          <a:p>
            <a:endParaRPr lang="en-US" sz="900" b="1" dirty="0">
              <a:solidFill>
                <a:srgbClr val="005192"/>
              </a:solidFill>
            </a:endParaRPr>
          </a:p>
        </p:txBody>
      </p:sp>
      <p:graphicFrame>
        <p:nvGraphicFramePr>
          <p:cNvPr id="24" name="Table 5">
            <a:extLst>
              <a:ext uri="{FF2B5EF4-FFF2-40B4-BE49-F238E27FC236}">
                <a16:creationId xmlns:a16="http://schemas.microsoft.com/office/drawing/2014/main" id="{D996990A-6938-4438-A748-83075D9A816E}"/>
              </a:ext>
            </a:extLst>
          </p:cNvPr>
          <p:cNvGraphicFramePr>
            <a:graphicFrameLocks noGrp="1"/>
          </p:cNvGraphicFramePr>
          <p:nvPr>
            <p:extLst>
              <p:ext uri="{D42A27DB-BD31-4B8C-83A1-F6EECF244321}">
                <p14:modId xmlns:p14="http://schemas.microsoft.com/office/powerpoint/2010/main" val="184578256"/>
              </p:ext>
            </p:extLst>
          </p:nvPr>
        </p:nvGraphicFramePr>
        <p:xfrm>
          <a:off x="34156" y="473544"/>
          <a:ext cx="5399969" cy="2896913"/>
        </p:xfrm>
        <a:graphic>
          <a:graphicData uri="http://schemas.openxmlformats.org/drawingml/2006/table">
            <a:tbl>
              <a:tblPr firstRow="1" bandRow="1">
                <a:tableStyleId>{5940675A-B579-460E-94D1-54222C63F5DA}</a:tableStyleId>
              </a:tblPr>
              <a:tblGrid>
                <a:gridCol w="5399969">
                  <a:extLst>
                    <a:ext uri="{9D8B030D-6E8A-4147-A177-3AD203B41FA5}">
                      <a16:colId xmlns:a16="http://schemas.microsoft.com/office/drawing/2014/main" val="965239065"/>
                    </a:ext>
                  </a:extLst>
                </a:gridCol>
              </a:tblGrid>
              <a:tr h="157809">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724066">
                <a:tc>
                  <a:txBody>
                    <a:bodyPr/>
                    <a:lstStyle/>
                    <a:p>
                      <a:r>
                        <a:rPr lang="en-US" sz="900" dirty="0"/>
                        <a:t>Our house is our pride and biggest investment, built to last for generations. In our humid climate dampness and water seepage impacts the structure and safety of our house. </a:t>
                      </a:r>
                    </a:p>
                    <a:p>
                      <a:pPr marL="171450" indent="-171450">
                        <a:buFont typeface="Wingdings" panose="05000000000000000000" pitchFamily="2" charset="2"/>
                        <a:buChar char="ü"/>
                      </a:pPr>
                      <a:r>
                        <a:rPr lang="en-US" sz="900" dirty="0"/>
                        <a:t>How can be rest assured that I’ve prevented any kind of water leaking &amp; seepage issues for my house?</a:t>
                      </a:r>
                    </a:p>
                    <a:p>
                      <a:pPr marL="171450" indent="-171450">
                        <a:buFont typeface="Wingdings" panose="05000000000000000000" pitchFamily="2" charset="2"/>
                        <a:buChar char="ü"/>
                      </a:pPr>
                      <a:r>
                        <a:rPr lang="en-US" sz="900" dirty="0"/>
                        <a:t>I need a thorough and long lasting solution to get the dampness out and prevent it from coming b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157809">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640520">
                <a:tc>
                  <a:txBody>
                    <a:bodyPr/>
                    <a:lstStyle/>
                    <a:p>
                      <a:r>
                        <a:rPr lang="en-US" sz="900" b="1" i="0" dirty="0"/>
                        <a:t>D</a:t>
                      </a:r>
                      <a:r>
                        <a:rPr lang="en-US" sz="900" b="0" i="0" u="none" strike="noStrike" kern="1200" baseline="0" dirty="0">
                          <a:solidFill>
                            <a:schemeClr val="tx1"/>
                          </a:solidFill>
                          <a:latin typeface="+mn-lt"/>
                          <a:ea typeface="+mn-ea"/>
                          <a:cs typeface="+mn-cs"/>
                        </a:rPr>
                        <a:t>ulux </a:t>
                      </a:r>
                      <a:r>
                        <a:rPr lang="en-US" sz="900" b="0" i="0" u="none" strike="noStrike" kern="1200" baseline="0" dirty="0" err="1">
                          <a:solidFill>
                            <a:schemeClr val="tx1"/>
                          </a:solidFill>
                          <a:latin typeface="+mn-lt"/>
                          <a:ea typeface="+mn-ea"/>
                          <a:cs typeface="+mn-cs"/>
                        </a:rPr>
                        <a:t>Aquatech</a:t>
                      </a:r>
                      <a:r>
                        <a:rPr lang="en-US" sz="900" b="0" i="0" u="none" strike="noStrike" kern="1200" baseline="0" dirty="0">
                          <a:solidFill>
                            <a:schemeClr val="tx1"/>
                          </a:solidFill>
                          <a:latin typeface="+mn-lt"/>
                          <a:ea typeface="+mn-ea"/>
                          <a:cs typeface="+mn-cs"/>
                        </a:rPr>
                        <a:t> SUPERPLAST+ is an integral liquid waterproofing compound advance formulated with water reducers &amp; super plasticizers for cement concrete, mortar, and plasters. It makes concrete cohesive &amp; improves workability of the mix. The compound has been designed to be used even with M-sand, improving its workability &amp; thereby increasing its compactness. The product is formulated with selected surface-active super plasticizing agents, chemicals &amp; additives which make the cement concrete/ plaster mix more compact upon curing, reduces water permeabilit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157809">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290873">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dirty="0">
                          <a:latin typeface="+mn-lt"/>
                          <a:ea typeface="Open Sans" panose="020B0606030504020204" pitchFamily="34" charset="0"/>
                          <a:cs typeface="Open Sans" panose="020B0606030504020204" pitchFamily="34" charset="0"/>
                        </a:rPr>
                        <a:t>Stay worry free when it comes to protection of my house from any dampness and seepages issues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36" name="TextBox 35">
            <a:extLst>
              <a:ext uri="{FF2B5EF4-FFF2-40B4-BE49-F238E27FC236}">
                <a16:creationId xmlns:a16="http://schemas.microsoft.com/office/drawing/2014/main" id="{183EFC43-42B0-4D8E-8EC6-0D424CDB0B90}"/>
              </a:ext>
            </a:extLst>
          </p:cNvPr>
          <p:cNvSpPr txBox="1"/>
          <p:nvPr/>
        </p:nvSpPr>
        <p:spPr>
          <a:xfrm>
            <a:off x="7705720" y="2143199"/>
            <a:ext cx="1473046" cy="214251"/>
          </a:xfrm>
          <a:prstGeom prst="rect">
            <a:avLst/>
          </a:prstGeom>
          <a:noFill/>
        </p:spPr>
        <p:txBody>
          <a:bodyPr wrap="square" lIns="0" tIns="0" rIns="0" bIns="0" rtlCol="0">
            <a:noAutofit/>
          </a:bodyPr>
          <a:lstStyle/>
          <a:p>
            <a:pPr algn="ctr"/>
            <a:r>
              <a:rPr lang="en-SG" sz="1050" b="1" dirty="0">
                <a:latin typeface="Colour Sans" panose="02000503030000020004" pitchFamily="2" charset="0"/>
              </a:rPr>
              <a:t>Available in</a:t>
            </a:r>
          </a:p>
          <a:p>
            <a:pPr algn="ctr"/>
            <a:r>
              <a:rPr lang="en-US" sz="1050" dirty="0">
                <a:latin typeface="Colour Sans" panose="02000503030000020004" pitchFamily="2" charset="0"/>
              </a:rPr>
              <a:t>0.5Kg, </a:t>
            </a:r>
            <a:r>
              <a:rPr lang="id-ID" sz="1050" dirty="0">
                <a:latin typeface="Colour Sans" panose="02000503030000020004" pitchFamily="2" charset="0"/>
              </a:rPr>
              <a:t>1Kg, </a:t>
            </a:r>
            <a:r>
              <a:rPr lang="en-SG" sz="1050" dirty="0">
                <a:latin typeface="Colour Sans" panose="02000503030000020004" pitchFamily="2" charset="0"/>
              </a:rPr>
              <a:t>5K</a:t>
            </a:r>
            <a:r>
              <a:rPr lang="id-ID" sz="1050" dirty="0">
                <a:latin typeface="Colour Sans" panose="02000503030000020004" pitchFamily="2" charset="0"/>
              </a:rPr>
              <a:t>g</a:t>
            </a:r>
            <a:r>
              <a:rPr lang="en-SG" sz="1050" dirty="0">
                <a:latin typeface="Colour Sans" panose="02000503030000020004" pitchFamily="2" charset="0"/>
              </a:rPr>
              <a:t> &amp; 20K</a:t>
            </a:r>
            <a:r>
              <a:rPr lang="id-ID" sz="1050" dirty="0">
                <a:latin typeface="Colour Sans" panose="02000503030000020004" pitchFamily="2" charset="0"/>
              </a:rPr>
              <a:t>g</a:t>
            </a:r>
            <a:endParaRPr lang="en-SG" sz="1050" dirty="0">
              <a:latin typeface="Colour Sans" panose="02000503030000020004" pitchFamily="2" charset="0"/>
            </a:endParaRPr>
          </a:p>
        </p:txBody>
      </p:sp>
      <p:sp>
        <p:nvSpPr>
          <p:cNvPr id="3" name="Title 7">
            <a:extLst>
              <a:ext uri="{FF2B5EF4-FFF2-40B4-BE49-F238E27FC236}">
                <a16:creationId xmlns:a16="http://schemas.microsoft.com/office/drawing/2014/main" id="{4EA0FFC2-C11C-B831-BFF8-945E81DFA25B}"/>
              </a:ext>
            </a:extLst>
          </p:cNvPr>
          <p:cNvSpPr txBox="1">
            <a:spLocks/>
          </p:cNvSpPr>
          <p:nvPr/>
        </p:nvSpPr>
        <p:spPr bwMode="gray">
          <a:xfrm>
            <a:off x="92692" y="34749"/>
            <a:ext cx="7814525" cy="344867"/>
          </a:xfrm>
          <a:prstGeom prst="rect">
            <a:avLst/>
          </a:prstGeom>
        </p:spPr>
        <p:txBody>
          <a:bodyPr wrap="square" lIns="0" tIns="0" rIns="0" bIns="0" rtlCol="0" anchor="b" anchorCtr="0">
            <a:noAutofit/>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000" dirty="0"/>
              <a:t>Integral - </a:t>
            </a:r>
            <a:r>
              <a:rPr lang="id-ID" sz="2000" dirty="0"/>
              <a:t>Dulux </a:t>
            </a:r>
            <a:r>
              <a:rPr lang="en-US" sz="2000" dirty="0" err="1"/>
              <a:t>Aquatech</a:t>
            </a:r>
            <a:r>
              <a:rPr lang="en-US" sz="2000" dirty="0"/>
              <a:t> Super </a:t>
            </a:r>
            <a:r>
              <a:rPr lang="en-US" sz="2000" dirty="0" err="1"/>
              <a:t>Plast</a:t>
            </a:r>
            <a:r>
              <a:rPr lang="en-US" sz="2000" dirty="0"/>
              <a:t>+</a:t>
            </a:r>
            <a:endParaRPr lang="id-ID" sz="2000" b="0" i="1" dirty="0"/>
          </a:p>
        </p:txBody>
      </p:sp>
      <p:pic>
        <p:nvPicPr>
          <p:cNvPr id="4" name="Picture 3">
            <a:extLst>
              <a:ext uri="{FF2B5EF4-FFF2-40B4-BE49-F238E27FC236}">
                <a16:creationId xmlns:a16="http://schemas.microsoft.com/office/drawing/2014/main" id="{CFC2E011-0BA8-F6B2-3F5A-850A95F359B5}"/>
              </a:ext>
            </a:extLst>
          </p:cNvPr>
          <p:cNvPicPr>
            <a:picLocks noChangeAspect="1"/>
          </p:cNvPicPr>
          <p:nvPr/>
        </p:nvPicPr>
        <p:blipFill>
          <a:blip r:embed="rId3"/>
          <a:stretch>
            <a:fillRect/>
          </a:stretch>
        </p:blipFill>
        <p:spPr>
          <a:xfrm>
            <a:off x="5508933" y="521126"/>
            <a:ext cx="2236388" cy="1675132"/>
          </a:xfrm>
          <a:prstGeom prst="rect">
            <a:avLst/>
          </a:prstGeom>
        </p:spPr>
      </p:pic>
      <p:pic>
        <p:nvPicPr>
          <p:cNvPr id="14" name="Picture 13" descr="A white plastic container with blue label&#10;&#10;Description automatically generated">
            <a:extLst>
              <a:ext uri="{FF2B5EF4-FFF2-40B4-BE49-F238E27FC236}">
                <a16:creationId xmlns:a16="http://schemas.microsoft.com/office/drawing/2014/main" id="{6E587C40-93BC-19B6-A503-511D9BBC57D8}"/>
              </a:ext>
            </a:extLst>
          </p:cNvPr>
          <p:cNvPicPr>
            <a:picLocks noChangeAspect="1"/>
          </p:cNvPicPr>
          <p:nvPr/>
        </p:nvPicPr>
        <p:blipFill>
          <a:blip r:embed="rId4"/>
          <a:stretch>
            <a:fillRect/>
          </a:stretch>
        </p:blipFill>
        <p:spPr>
          <a:xfrm>
            <a:off x="8053816" y="532999"/>
            <a:ext cx="739163" cy="1641822"/>
          </a:xfrm>
          <a:prstGeom prst="rect">
            <a:avLst/>
          </a:prstGeom>
        </p:spPr>
      </p:pic>
      <p:pic>
        <p:nvPicPr>
          <p:cNvPr id="19" name="Picture 18" descr="A screenshot of a computer&#10;&#10;Description automatically generated">
            <a:extLst>
              <a:ext uri="{FF2B5EF4-FFF2-40B4-BE49-F238E27FC236}">
                <a16:creationId xmlns:a16="http://schemas.microsoft.com/office/drawing/2014/main" id="{29D1B6F4-DC1C-D3BC-9D5D-4481F2031E24}"/>
              </a:ext>
            </a:extLst>
          </p:cNvPr>
          <p:cNvPicPr>
            <a:picLocks noChangeAspect="1"/>
          </p:cNvPicPr>
          <p:nvPr/>
        </p:nvPicPr>
        <p:blipFill rotWithShape="1">
          <a:blip r:embed="rId5"/>
          <a:srcRect r="17820" b="71801"/>
          <a:stretch/>
        </p:blipFill>
        <p:spPr>
          <a:xfrm>
            <a:off x="4548843" y="1469104"/>
            <a:ext cx="3996786" cy="1939159"/>
          </a:xfrm>
          <a:prstGeom prst="rect">
            <a:avLst/>
          </a:prstGeom>
        </p:spPr>
      </p:pic>
      <p:pic>
        <p:nvPicPr>
          <p:cNvPr id="22" name="Picture 21" descr="A screenshot of a computer&#10;&#10;Description automatically generated">
            <a:extLst>
              <a:ext uri="{FF2B5EF4-FFF2-40B4-BE49-F238E27FC236}">
                <a16:creationId xmlns:a16="http://schemas.microsoft.com/office/drawing/2014/main" id="{9FA817E5-CEA4-7C84-CE87-7A8C1AAB90AA}"/>
              </a:ext>
            </a:extLst>
          </p:cNvPr>
          <p:cNvPicPr>
            <a:picLocks noChangeAspect="1"/>
          </p:cNvPicPr>
          <p:nvPr/>
        </p:nvPicPr>
        <p:blipFill rotWithShape="1">
          <a:blip r:embed="rId5"/>
          <a:srcRect l="1796" t="26263" r="10571" b="5733"/>
          <a:stretch/>
        </p:blipFill>
        <p:spPr>
          <a:xfrm>
            <a:off x="7128422" y="2645986"/>
            <a:ext cx="2224496" cy="2440769"/>
          </a:xfrm>
          <a:prstGeom prst="rect">
            <a:avLst/>
          </a:prstGeom>
        </p:spPr>
      </p:pic>
    </p:spTree>
    <p:extLst>
      <p:ext uri="{BB962C8B-B14F-4D97-AF65-F5344CB8AC3E}">
        <p14:creationId xmlns:p14="http://schemas.microsoft.com/office/powerpoint/2010/main" val="2975282584"/>
      </p:ext>
    </p:extLst>
  </p:cSld>
  <p:clrMapOvr>
    <a:masterClrMapping/>
  </p:clrMapOvr>
  <p:transition spd="slow">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Velvet Touch</a:t>
            </a: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nvGraphicFramePr>
        <p:xfrm>
          <a:off x="81792" y="581122"/>
          <a:ext cx="4462263" cy="2882339"/>
        </p:xfrm>
        <a:graphic>
          <a:graphicData uri="http://schemas.openxmlformats.org/drawingml/2006/table">
            <a:tbl>
              <a:tblPr firstRow="1" bandRow="1">
                <a:tableStyleId>{5940675A-B579-460E-94D1-54222C63F5DA}</a:tableStyleId>
              </a:tblPr>
              <a:tblGrid>
                <a:gridCol w="4462263">
                  <a:extLst>
                    <a:ext uri="{9D8B030D-6E8A-4147-A177-3AD203B41FA5}">
                      <a16:colId xmlns:a16="http://schemas.microsoft.com/office/drawing/2014/main" val="965239065"/>
                    </a:ext>
                  </a:extLst>
                </a:gridCol>
              </a:tblGrid>
              <a:tr h="269811">
                <a:tc>
                  <a:txBody>
                    <a:bodyPr/>
                    <a:lstStyle/>
                    <a:p>
                      <a:r>
                        <a:rPr lang="en-SG" sz="14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912268">
                <a:tc>
                  <a:txBody>
                    <a:bodyPr/>
                    <a:lstStyle/>
                    <a:p>
                      <a:r>
                        <a:rPr lang="en-US" sz="1100" b="0" dirty="0">
                          <a:latin typeface="Open Sans" panose="020B0606030504020204" pitchFamily="34" charset="0"/>
                          <a:ea typeface="Open Sans" panose="020B0606030504020204" pitchFamily="34" charset="0"/>
                          <a:cs typeface="Open Sans" panose="020B0606030504020204" pitchFamily="34" charset="0"/>
                        </a:rPr>
                        <a:t>My home is a reflection of my refined choices in life. I like to do it in a way that mirrors my taste and style and brings alive the luxuriousness. Wall paint forms a very essential part of how I do up my home. I like brands that have rich lineage associated with them and stand for refinedness and elegance </a:t>
                      </a:r>
                      <a:endParaRPr lang="en-SG" sz="1100" b="0" dirty="0">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69811">
                <a:tc>
                  <a:txBody>
                    <a:bodyPr/>
                    <a:lstStyle/>
                    <a:p>
                      <a:r>
                        <a:rPr lang="en-SG" sz="14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521238">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Dulux Velvet Touch with Tru </a:t>
                      </a:r>
                      <a:r>
                        <a:rPr lang="en-SG" sz="1100" b="0" dirty="0" err="1">
                          <a:latin typeface="Open Sans" panose="020B0606030504020204" pitchFamily="34" charset="0"/>
                          <a:ea typeface="Open Sans" panose="020B0606030504020204" pitchFamily="34" charset="0"/>
                          <a:cs typeface="Open Sans" panose="020B0606030504020204" pitchFamily="34" charset="0"/>
                        </a:rPr>
                        <a:t>Color</a:t>
                      </a:r>
                      <a:r>
                        <a:rPr lang="en-SG" sz="1100" b="0" dirty="0">
                          <a:latin typeface="Open Sans" panose="020B0606030504020204" pitchFamily="34" charset="0"/>
                          <a:ea typeface="Open Sans" panose="020B0606030504020204" pitchFamily="34" charset="0"/>
                          <a:cs typeface="Open Sans" panose="020B0606030504020204" pitchFamily="34" charset="0"/>
                        </a:rPr>
                        <a:t> technology provides intense rich colours and ultra smooth finis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69811">
                <a:tc>
                  <a:txBody>
                    <a:bodyPr/>
                    <a:lstStyle/>
                    <a:p>
                      <a:r>
                        <a:rPr lang="en-SG" sz="14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517061">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Ultra Smooth Finish</a:t>
                      </a:r>
                    </a:p>
                    <a:p>
                      <a:r>
                        <a:rPr lang="en-SG" sz="1100" b="0" dirty="0">
                          <a:latin typeface="Open Sans" panose="020B0606030504020204" pitchFamily="34" charset="0"/>
                          <a:ea typeface="Open Sans" panose="020B0606030504020204" pitchFamily="34" charset="0"/>
                          <a:cs typeface="Open Sans" panose="020B0606030504020204" pitchFamily="34" charset="0"/>
                        </a:rPr>
                        <a:t>Rich Intense Color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35951" y="3757726"/>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5922387" y="2148951"/>
            <a:ext cx="1306934" cy="406524"/>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4L, 10L, 20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nvGraphicFramePr>
        <p:xfrm>
          <a:off x="193626" y="4021041"/>
          <a:ext cx="3272865" cy="907717"/>
        </p:xfrm>
        <a:graphic>
          <a:graphicData uri="http://schemas.openxmlformats.org/drawingml/2006/table">
            <a:tbl>
              <a:tblPr firstRow="1" bandRow="1">
                <a:tableStyleId>{2D5ABB26-0587-4C30-8999-92F81FD0307C}</a:tableStyleId>
              </a:tblPr>
              <a:tblGrid>
                <a:gridCol w="1580310">
                  <a:extLst>
                    <a:ext uri="{9D8B030D-6E8A-4147-A177-3AD203B41FA5}">
                      <a16:colId xmlns:a16="http://schemas.microsoft.com/office/drawing/2014/main" val="2714193207"/>
                    </a:ext>
                  </a:extLst>
                </a:gridCol>
                <a:gridCol w="1692555">
                  <a:extLst>
                    <a:ext uri="{9D8B030D-6E8A-4147-A177-3AD203B41FA5}">
                      <a16:colId xmlns:a16="http://schemas.microsoft.com/office/drawing/2014/main" val="402161752"/>
                    </a:ext>
                  </a:extLst>
                </a:gridCol>
              </a:tblGrid>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defTabSz="914400" rtl="0" eaLnBrk="1" fontAlgn="b" latinLnBrk="0" hangingPunct="1"/>
                      <a:r>
                        <a:rPr lang="en-SG" sz="1100" b="0" i="0" u="none" strike="noStrike" kern="1200" dirty="0">
                          <a:solidFill>
                            <a:srgbClr val="000000"/>
                          </a:solidFill>
                          <a:effectLst/>
                          <a:latin typeface="Colour Sans" panose="02000503030000020004" pitchFamily="2" charset="0"/>
                          <a:ea typeface="+mn-ea"/>
                          <a:cs typeface="+mn-cs"/>
                        </a:rPr>
                        <a:t>Smooth finis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SG" sz="1100" b="0" i="0" u="none" strike="noStrike" kern="1200" noProof="0" dirty="0">
                          <a:solidFill>
                            <a:srgbClr val="000000"/>
                          </a:solidFill>
                          <a:effectLst/>
                          <a:latin typeface="Colour Sans" panose="02000503030000020004" pitchFamily="2" charset="0"/>
                          <a:ea typeface="+mn-ea"/>
                          <a:cs typeface="+mn-cs"/>
                        </a:rPr>
                        <a:t>12-14 </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endParaRPr lang="en-SG" sz="1100" b="0" i="0" u="none" strike="noStrike" kern="1200" noProof="0" dirty="0">
                        <a:solidFill>
                          <a:srgbClr val="000000"/>
                        </a:solidFill>
                        <a:effectLst/>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Hig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32705">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2000+</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nvGraphicFramePr>
        <p:xfrm>
          <a:off x="3524166" y="4021041"/>
          <a:ext cx="3614969" cy="900016"/>
        </p:xfrm>
        <a:graphic>
          <a:graphicData uri="http://schemas.openxmlformats.org/drawingml/2006/table">
            <a:tbl>
              <a:tblPr firstRow="1" bandRow="1">
                <a:tableStyleId>{2D5ABB26-0587-4C30-8999-92F81FD0307C}</a:tableStyleId>
              </a:tblPr>
              <a:tblGrid>
                <a:gridCol w="1930400">
                  <a:extLst>
                    <a:ext uri="{9D8B030D-6E8A-4147-A177-3AD203B41FA5}">
                      <a16:colId xmlns:a16="http://schemas.microsoft.com/office/drawing/2014/main" val="3738590716"/>
                    </a:ext>
                  </a:extLst>
                </a:gridCol>
                <a:gridCol w="1684569">
                  <a:extLst>
                    <a:ext uri="{9D8B030D-6E8A-4147-A177-3AD203B41FA5}">
                      <a16:colId xmlns:a16="http://schemas.microsoft.com/office/drawing/2014/main" val="3750538898"/>
                    </a:ext>
                  </a:extLst>
                </a:gridCol>
              </a:tblGrid>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Wash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Superior</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Fastness</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Best in Clas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Mould &amp; Fungus Protection</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Superior</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Dur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ong lasting</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3" name="TextBox 2">
            <a:extLst>
              <a:ext uri="{FF2B5EF4-FFF2-40B4-BE49-F238E27FC236}">
                <a16:creationId xmlns:a16="http://schemas.microsoft.com/office/drawing/2014/main" id="{AFD677D1-9819-3FCB-8A3D-13672FC713BF}"/>
              </a:ext>
            </a:extLst>
          </p:cNvPr>
          <p:cNvSpPr txBox="1"/>
          <p:nvPr/>
        </p:nvSpPr>
        <p:spPr>
          <a:xfrm>
            <a:off x="7426397" y="4033690"/>
            <a:ext cx="1557726" cy="900015"/>
          </a:xfrm>
          <a:prstGeom prst="rect">
            <a:avLst/>
          </a:prstGeom>
          <a:noFill/>
        </p:spPr>
        <p:txBody>
          <a:bodyPr wrap="square" lIns="0" tIns="0" rIns="0" bIns="0" rtlCol="0">
            <a:noAutofit/>
          </a:bodyPr>
          <a:lstStyle/>
          <a:p>
            <a:r>
              <a:rPr lang="en-SG" sz="1400" b="0" dirty="0">
                <a:latin typeface="Colour Sans" panose="02000503030000020004" pitchFamily="2" charset="0"/>
              </a:rPr>
              <a:t>Other benefits:</a:t>
            </a:r>
          </a:p>
          <a:p>
            <a:pPr marL="285750" indent="-285750">
              <a:buFont typeface="Wingdings" panose="05000000000000000000" pitchFamily="2" charset="2"/>
              <a:buChar char="q"/>
            </a:pPr>
            <a:r>
              <a:rPr lang="en-SG" sz="1100" dirty="0">
                <a:latin typeface="Colour Sans" panose="02000503030000020004" pitchFamily="2" charset="0"/>
              </a:rPr>
              <a:t>Anti fungal</a:t>
            </a:r>
            <a:endParaRPr lang="en-SG" sz="1400" dirty="0">
              <a:latin typeface="Colour Sans" panose="02000503030000020004" pitchFamily="2" charset="0"/>
            </a:endParaRPr>
          </a:p>
          <a:p>
            <a:pPr marL="285750" indent="-285750">
              <a:buFont typeface="Wingdings" panose="05000000000000000000" pitchFamily="2" charset="2"/>
              <a:buChar char="q"/>
            </a:pPr>
            <a:r>
              <a:rPr lang="en-SG" sz="1100" dirty="0">
                <a:latin typeface="Colour Sans" panose="02000503030000020004" pitchFamily="2" charset="0"/>
              </a:rPr>
              <a:t>Anti-bacterial</a:t>
            </a:r>
          </a:p>
        </p:txBody>
      </p:sp>
      <p:pic>
        <p:nvPicPr>
          <p:cNvPr id="9" name="Picture 8" descr="A blue container with a blue lid&#10;&#10;Description automatically generated">
            <a:extLst>
              <a:ext uri="{FF2B5EF4-FFF2-40B4-BE49-F238E27FC236}">
                <a16:creationId xmlns:a16="http://schemas.microsoft.com/office/drawing/2014/main" id="{109D0FF9-4E10-0905-33CC-6CE2832C5E3C}"/>
              </a:ext>
            </a:extLst>
          </p:cNvPr>
          <p:cNvPicPr>
            <a:picLocks noChangeAspect="1"/>
          </p:cNvPicPr>
          <p:nvPr/>
        </p:nvPicPr>
        <p:blipFill>
          <a:blip r:embed="rId2"/>
          <a:stretch>
            <a:fillRect/>
          </a:stretch>
        </p:blipFill>
        <p:spPr>
          <a:xfrm>
            <a:off x="4897952" y="654113"/>
            <a:ext cx="1306934" cy="1371600"/>
          </a:xfrm>
          <a:prstGeom prst="rect">
            <a:avLst/>
          </a:prstGeom>
        </p:spPr>
      </p:pic>
      <p:pic>
        <p:nvPicPr>
          <p:cNvPr id="11" name="Picture 10" descr="A blue container with a purple label&#10;&#10;Description automatically generated">
            <a:extLst>
              <a:ext uri="{FF2B5EF4-FFF2-40B4-BE49-F238E27FC236}">
                <a16:creationId xmlns:a16="http://schemas.microsoft.com/office/drawing/2014/main" id="{6FB7A89B-DA48-C54D-C10B-09BB54B5AFED}"/>
              </a:ext>
            </a:extLst>
          </p:cNvPr>
          <p:cNvPicPr>
            <a:picLocks noChangeAspect="1"/>
          </p:cNvPicPr>
          <p:nvPr/>
        </p:nvPicPr>
        <p:blipFill>
          <a:blip r:embed="rId3"/>
          <a:stretch>
            <a:fillRect/>
          </a:stretch>
        </p:blipFill>
        <p:spPr>
          <a:xfrm>
            <a:off x="6959723" y="654113"/>
            <a:ext cx="1306934" cy="1371600"/>
          </a:xfrm>
          <a:prstGeom prst="rect">
            <a:avLst/>
          </a:prstGeom>
        </p:spPr>
      </p:pic>
      <p:pic>
        <p:nvPicPr>
          <p:cNvPr id="13" name="Picture 12" descr="A blue and red container with a blue lid&#10;&#10;Description automatically generated">
            <a:extLst>
              <a:ext uri="{FF2B5EF4-FFF2-40B4-BE49-F238E27FC236}">
                <a16:creationId xmlns:a16="http://schemas.microsoft.com/office/drawing/2014/main" id="{767B3C30-67E0-2872-3970-706648C3DB98}"/>
              </a:ext>
            </a:extLst>
          </p:cNvPr>
          <p:cNvPicPr>
            <a:picLocks noChangeAspect="1"/>
          </p:cNvPicPr>
          <p:nvPr/>
        </p:nvPicPr>
        <p:blipFill>
          <a:blip r:embed="rId4"/>
          <a:stretch>
            <a:fillRect/>
          </a:stretch>
        </p:blipFill>
        <p:spPr>
          <a:xfrm>
            <a:off x="5949794" y="655988"/>
            <a:ext cx="1312065" cy="1371600"/>
          </a:xfrm>
          <a:prstGeom prst="rect">
            <a:avLst/>
          </a:prstGeom>
        </p:spPr>
      </p:pic>
      <p:pic>
        <p:nvPicPr>
          <p:cNvPr id="14" name="Picture 13">
            <a:extLst>
              <a:ext uri="{FF2B5EF4-FFF2-40B4-BE49-F238E27FC236}">
                <a16:creationId xmlns:a16="http://schemas.microsoft.com/office/drawing/2014/main" id="{F156A8D2-4A60-3C66-2ABE-8C0E7F09B95F}"/>
              </a:ext>
            </a:extLst>
          </p:cNvPr>
          <p:cNvPicPr>
            <a:picLocks noChangeAspect="1"/>
          </p:cNvPicPr>
          <p:nvPr/>
        </p:nvPicPr>
        <p:blipFill>
          <a:blip r:embed="rId5" cstate="hqprint">
            <a:extLst>
              <a:ext uri="{BEBA8EAE-BF5A-486C-A8C5-ECC9F3942E4B}">
                <a14:imgProps xmlns:a14="http://schemas.microsoft.com/office/drawing/2010/main">
                  <a14:imgLayer r:embed="rId6">
                    <a14:imgEffect>
                      <a14:backgroundRemoval t="7477" b="90187" l="9063" r="89577">
                        <a14:foregroundMark x1="11480" y1="18069" x2="11480" y2="53583"/>
                        <a14:foregroundMark x1="11480" y1="65576" x2="22356" y2="84268"/>
                        <a14:foregroundMark x1="22356" y1="84268" x2="22961" y2="84579"/>
                        <a14:foregroundMark x1="10574" y1="54673" x2="12387" y2="73520"/>
                        <a14:foregroundMark x1="20695" y1="83022" x2="41843" y2="87850"/>
                        <a14:foregroundMark x1="58912" y1="90187" x2="84139" y2="89252"/>
                        <a14:foregroundMark x1="10574" y1="10903" x2="10121" y2="21807"/>
                        <a14:foregroundMark x1="11480" y1="10436" x2="41390" y2="9502"/>
                        <a14:foregroundMark x1="45468" y1="8567" x2="69033" y2="7632"/>
                        <a14:foregroundMark x1="74924" y1="9034" x2="87915" y2="24922"/>
                        <a14:foregroundMark x1="87915" y1="24922" x2="87915" y2="25234"/>
                        <a14:foregroundMark x1="87915" y1="27103" x2="89728" y2="50312"/>
                        <a14:foregroundMark x1="89728" y1="51246" x2="86556" y2="74143"/>
                        <a14:foregroundMark x1="85498" y1="36604" x2="86103" y2="52648"/>
                        <a14:foregroundMark x1="74018" y1="38474" x2="64804" y2="50312"/>
                        <a14:foregroundMark x1="35801" y1="28037" x2="34441" y2="43614"/>
                        <a14:foregroundMark x1="34441" y1="33178" x2="35347" y2="51713"/>
                        <a14:foregroundMark x1="25227" y1="64642" x2="67221" y2="66978"/>
                        <a14:foregroundMark x1="72205" y1="30374" x2="69335" y2="54361"/>
                        <a14:foregroundMark x1="69335" y1="54361" x2="68127" y2="55140"/>
                        <a14:foregroundMark x1="57553" y1="32710" x2="63444" y2="49844"/>
                        <a14:foregroundMark x1="51057" y1="32710" x2="46375" y2="51713"/>
                        <a14:foregroundMark x1="48792" y1="33645" x2="47281" y2="49377"/>
                        <a14:foregroundMark x1="34894" y1="24143" x2="43656" y2="38941"/>
                        <a14:foregroundMark x1="43202" y1="24611" x2="44109" y2="38474"/>
                        <a14:foregroundMark x1="26133" y1="29439" x2="39577" y2="34112"/>
                        <a14:foregroundMark x1="31722" y1="26636" x2="37160" y2="38474"/>
                        <a14:foregroundMark x1="24773" y1="59813" x2="29456" y2="74143"/>
                        <a14:foregroundMark x1="34441" y1="59346" x2="24320" y2="73053"/>
                        <a14:foregroundMark x1="27039" y1="60748" x2="40030" y2="66044"/>
                        <a14:foregroundMark x1="22961" y1="68847" x2="45468" y2="63707"/>
                        <a14:foregroundMark x1="45468" y1="63707" x2="67069" y2="65732"/>
                        <a14:foregroundMark x1="67069" y1="65732" x2="74018" y2="72118"/>
                        <a14:foregroundMark x1="87915" y1="66044" x2="88822" y2="85514"/>
                        <a14:foregroundMark x1="86103" y1="58879" x2="85045" y2="75545"/>
                        <a14:foregroundMark x1="41390" y1="88785" x2="54230" y2="85514"/>
                        <a14:foregroundMark x1="12840" y1="47040" x2="13746" y2="57944"/>
                        <a14:foregroundMark x1="44562" y1="38941" x2="44562" y2="49844"/>
                        <a14:foregroundMark x1="58459" y1="42212" x2="70846" y2="50312"/>
                        <a14:foregroundMark x1="73565" y1="43614" x2="57553" y2="43614"/>
                        <a14:foregroundMark x1="73565" y1="41277" x2="73565" y2="47508"/>
                        <a14:foregroundMark x1="54683" y1="33645" x2="51057" y2="38941"/>
                        <a14:foregroundMark x1="45468" y1="28505" x2="45015" y2="33645"/>
                        <a14:foregroundMark x1="31269" y1="60748" x2="30816" y2="71651"/>
                        <a14:foregroundMark x1="38218" y1="64174" x2="59063" y2="66978"/>
                        <a14:foregroundMark x1="59063" y1="66978" x2="73565" y2="63551"/>
                        <a14:foregroundMark x1="65710" y1="65109" x2="58912" y2="71651"/>
                        <a14:foregroundMark x1="58006" y1="66044" x2="52417" y2="71184"/>
                        <a14:foregroundMark x1="55589" y1="65109" x2="48792" y2="63084"/>
                        <a14:foregroundMark x1="61178" y1="63084" x2="68580" y2="69315"/>
                        <a14:foregroundMark x1="63444" y1="69782" x2="69486" y2="71184"/>
                        <a14:foregroundMark x1="51511" y1="63551" x2="58912" y2="62617"/>
                        <a14:foregroundMark x1="39577" y1="64642" x2="35347" y2="67913"/>
                        <a14:foregroundMark x1="45015" y1="68847" x2="36254" y2="68847"/>
                        <a14:foregroundMark x1="41843" y1="65109" x2="35801" y2="62617"/>
                        <a14:foregroundMark x1="43202" y1="67913" x2="38671" y2="72586"/>
                        <a14:foregroundMark x1="34894" y1="58411" x2="22054" y2="64174"/>
                        <a14:foregroundMark x1="10574" y1="7632" x2="9063" y2="19003"/>
                        <a14:foregroundMark x1="11027" y1="29439" x2="11027" y2="40343"/>
                        <a14:foregroundMark x1="10121" y1="52648" x2="10121" y2="61682"/>
                        <a14:foregroundMark x1="60272" y1="48910" x2="64350" y2="50312"/>
                        <a14:foregroundMark x1="30363" y1="29907" x2="17825" y2="26636"/>
                      </a14:backgroundRemoval>
                    </a14:imgEffect>
                  </a14:imgLayer>
                </a14:imgProps>
              </a:ext>
              <a:ext uri="{28A0092B-C50C-407E-A947-70E740481C1C}">
                <a14:useLocalDpi xmlns:a14="http://schemas.microsoft.com/office/drawing/2010/main"/>
              </a:ext>
            </a:extLst>
          </a:blip>
          <a:stretch>
            <a:fillRect/>
          </a:stretch>
        </p:blipFill>
        <p:spPr>
          <a:xfrm>
            <a:off x="4537989" y="2698785"/>
            <a:ext cx="1091935" cy="1058941"/>
          </a:xfrm>
          <a:prstGeom prst="rect">
            <a:avLst/>
          </a:prstGeom>
        </p:spPr>
      </p:pic>
      <p:pic>
        <p:nvPicPr>
          <p:cNvPr id="16" name="Picture 15">
            <a:extLst>
              <a:ext uri="{FF2B5EF4-FFF2-40B4-BE49-F238E27FC236}">
                <a16:creationId xmlns:a16="http://schemas.microsoft.com/office/drawing/2014/main" id="{85D8239D-823A-1D98-920D-E185E65C38B2}"/>
              </a:ext>
            </a:extLst>
          </p:cNvPr>
          <p:cNvPicPr>
            <a:picLocks noChangeAspect="1"/>
          </p:cNvPicPr>
          <p:nvPr/>
        </p:nvPicPr>
        <p:blipFill>
          <a:blip r:embed="rId7">
            <a:clrChange>
              <a:clrFrom>
                <a:srgbClr val="FFF1E2"/>
              </a:clrFrom>
              <a:clrTo>
                <a:srgbClr val="FFF1E2">
                  <a:alpha val="0"/>
                </a:srgbClr>
              </a:clrTo>
            </a:clrChange>
          </a:blip>
          <a:stretch>
            <a:fillRect/>
          </a:stretch>
        </p:blipFill>
        <p:spPr>
          <a:xfrm>
            <a:off x="6498260" y="2761154"/>
            <a:ext cx="894387" cy="894387"/>
          </a:xfrm>
          <a:prstGeom prst="rect">
            <a:avLst/>
          </a:prstGeom>
        </p:spPr>
      </p:pic>
      <p:pic>
        <p:nvPicPr>
          <p:cNvPr id="24" name="Picture 23">
            <a:extLst>
              <a:ext uri="{FF2B5EF4-FFF2-40B4-BE49-F238E27FC236}">
                <a16:creationId xmlns:a16="http://schemas.microsoft.com/office/drawing/2014/main" id="{C483B17F-AB3E-336A-F11F-49EA84497829}"/>
              </a:ext>
            </a:extLst>
          </p:cNvPr>
          <p:cNvPicPr>
            <a:picLocks noChangeAspect="1"/>
          </p:cNvPicPr>
          <p:nvPr/>
        </p:nvPicPr>
        <p:blipFill>
          <a:blip r:embed="rId8">
            <a:clrChange>
              <a:clrFrom>
                <a:srgbClr val="FFF1E2"/>
              </a:clrFrom>
              <a:clrTo>
                <a:srgbClr val="FFF1E2">
                  <a:alpha val="0"/>
                </a:srgbClr>
              </a:clrTo>
            </a:clrChange>
          </a:blip>
          <a:stretch>
            <a:fillRect/>
          </a:stretch>
        </p:blipFill>
        <p:spPr>
          <a:xfrm>
            <a:off x="7316824" y="2761154"/>
            <a:ext cx="917701" cy="892209"/>
          </a:xfrm>
          <a:prstGeom prst="rect">
            <a:avLst/>
          </a:prstGeom>
        </p:spPr>
      </p:pic>
      <p:pic>
        <p:nvPicPr>
          <p:cNvPr id="26" name="Picture 25">
            <a:extLst>
              <a:ext uri="{FF2B5EF4-FFF2-40B4-BE49-F238E27FC236}">
                <a16:creationId xmlns:a16="http://schemas.microsoft.com/office/drawing/2014/main" id="{A9CD765A-C9BE-8373-672B-E5A6FDAFF374}"/>
              </a:ext>
            </a:extLst>
          </p:cNvPr>
          <p:cNvPicPr>
            <a:picLocks noChangeAspect="1"/>
          </p:cNvPicPr>
          <p:nvPr/>
        </p:nvPicPr>
        <p:blipFill>
          <a:blip r:embed="rId9">
            <a:clrChange>
              <a:clrFrom>
                <a:srgbClr val="FFF1E2"/>
              </a:clrFrom>
              <a:clrTo>
                <a:srgbClr val="FFF1E2">
                  <a:alpha val="0"/>
                </a:srgbClr>
              </a:clrTo>
            </a:clrChange>
          </a:blip>
          <a:stretch>
            <a:fillRect/>
          </a:stretch>
        </p:blipFill>
        <p:spPr>
          <a:xfrm>
            <a:off x="8169605" y="2772800"/>
            <a:ext cx="897336" cy="880563"/>
          </a:xfrm>
          <a:prstGeom prst="rect">
            <a:avLst/>
          </a:prstGeom>
        </p:spPr>
      </p:pic>
      <p:pic>
        <p:nvPicPr>
          <p:cNvPr id="30" name="Picture 29">
            <a:extLst>
              <a:ext uri="{FF2B5EF4-FFF2-40B4-BE49-F238E27FC236}">
                <a16:creationId xmlns:a16="http://schemas.microsoft.com/office/drawing/2014/main" id="{FE39C97E-9799-A746-0511-74885253187E}"/>
              </a:ext>
            </a:extLst>
          </p:cNvPr>
          <p:cNvPicPr>
            <a:picLocks noChangeAspect="1"/>
          </p:cNvPicPr>
          <p:nvPr/>
        </p:nvPicPr>
        <p:blipFill>
          <a:blip r:embed="rId10">
            <a:clrChange>
              <a:clrFrom>
                <a:srgbClr val="FFF1E2"/>
              </a:clrFrom>
              <a:clrTo>
                <a:srgbClr val="FFF1E2">
                  <a:alpha val="0"/>
                </a:srgbClr>
              </a:clrTo>
            </a:clrChange>
          </a:blip>
          <a:stretch>
            <a:fillRect/>
          </a:stretch>
        </p:blipFill>
        <p:spPr>
          <a:xfrm>
            <a:off x="5590474" y="2757049"/>
            <a:ext cx="917701" cy="891971"/>
          </a:xfrm>
          <a:prstGeom prst="rect">
            <a:avLst/>
          </a:prstGeom>
        </p:spPr>
      </p:pic>
      <p:sp>
        <p:nvSpPr>
          <p:cNvPr id="31" name="TextBox 30">
            <a:extLst>
              <a:ext uri="{FF2B5EF4-FFF2-40B4-BE49-F238E27FC236}">
                <a16:creationId xmlns:a16="http://schemas.microsoft.com/office/drawing/2014/main" id="{A5FD8D7D-0D55-F7CF-4B29-7080796255BB}"/>
              </a:ext>
            </a:extLst>
          </p:cNvPr>
          <p:cNvSpPr txBox="1"/>
          <p:nvPr/>
        </p:nvSpPr>
        <p:spPr>
          <a:xfrm>
            <a:off x="5713461" y="3574366"/>
            <a:ext cx="677768" cy="244906"/>
          </a:xfrm>
          <a:prstGeom prst="rect">
            <a:avLst/>
          </a:prstGeom>
          <a:noFill/>
        </p:spPr>
        <p:txBody>
          <a:bodyPr wrap="square" lIns="0" tIns="0" rIns="0" bIns="0" rtlCol="0" anchor="ctr">
            <a:noAutofit/>
          </a:bodyPr>
          <a:lstStyle/>
          <a:p>
            <a:pPr algn="ctr"/>
            <a:r>
              <a:rPr lang="en-US" sz="700" b="1" dirty="0">
                <a:latin typeface="Calibri" panose="020F0502020204030204" pitchFamily="34" charset="0"/>
                <a:cs typeface="Calibri" panose="020F0502020204030204" pitchFamily="34" charset="0"/>
              </a:rPr>
              <a:t>Core &amp; Shell technology</a:t>
            </a:r>
          </a:p>
        </p:txBody>
      </p:sp>
      <p:sp>
        <p:nvSpPr>
          <p:cNvPr id="32" name="TextBox 31">
            <a:extLst>
              <a:ext uri="{FF2B5EF4-FFF2-40B4-BE49-F238E27FC236}">
                <a16:creationId xmlns:a16="http://schemas.microsoft.com/office/drawing/2014/main" id="{37D923EB-59C4-7C01-A317-BE1DF053E4D4}"/>
              </a:ext>
            </a:extLst>
          </p:cNvPr>
          <p:cNvSpPr txBox="1"/>
          <p:nvPr/>
        </p:nvSpPr>
        <p:spPr>
          <a:xfrm>
            <a:off x="6575854" y="3565211"/>
            <a:ext cx="677768" cy="244906"/>
          </a:xfrm>
          <a:prstGeom prst="rect">
            <a:avLst/>
          </a:prstGeom>
          <a:noFill/>
        </p:spPr>
        <p:txBody>
          <a:bodyPr wrap="square" lIns="0" tIns="0" rIns="0" bIns="0" rtlCol="0" anchor="ctr">
            <a:noAutofit/>
          </a:bodyPr>
          <a:lstStyle/>
          <a:p>
            <a:pPr algn="ctr"/>
            <a:r>
              <a:rPr lang="en-US" sz="700" b="1" dirty="0">
                <a:latin typeface="Calibri" panose="020F0502020204030204" pitchFamily="34" charset="0"/>
                <a:cs typeface="Calibri" panose="020F0502020204030204" pitchFamily="34" charset="0"/>
              </a:rPr>
              <a:t>Best in class smoothness</a:t>
            </a:r>
          </a:p>
        </p:txBody>
      </p:sp>
      <p:sp>
        <p:nvSpPr>
          <p:cNvPr id="33" name="TextBox 32">
            <a:extLst>
              <a:ext uri="{FF2B5EF4-FFF2-40B4-BE49-F238E27FC236}">
                <a16:creationId xmlns:a16="http://schemas.microsoft.com/office/drawing/2014/main" id="{D8BB64B1-0967-4AAF-1BDC-CE5D5CF538C1}"/>
              </a:ext>
            </a:extLst>
          </p:cNvPr>
          <p:cNvSpPr txBox="1"/>
          <p:nvPr/>
        </p:nvSpPr>
        <p:spPr>
          <a:xfrm>
            <a:off x="7426397" y="3565211"/>
            <a:ext cx="677768" cy="244906"/>
          </a:xfrm>
          <a:prstGeom prst="rect">
            <a:avLst/>
          </a:prstGeom>
          <a:noFill/>
        </p:spPr>
        <p:txBody>
          <a:bodyPr wrap="square" lIns="0" tIns="0" rIns="0" bIns="0" rtlCol="0" anchor="ctr">
            <a:noAutofit/>
          </a:bodyPr>
          <a:lstStyle/>
          <a:p>
            <a:pPr algn="ctr"/>
            <a:r>
              <a:rPr lang="en-US" sz="700" b="1" dirty="0">
                <a:latin typeface="Calibri" panose="020F0502020204030204" pitchFamily="34" charset="0"/>
                <a:cs typeface="Calibri" panose="020F0502020204030204" pitchFamily="34" charset="0"/>
              </a:rPr>
              <a:t>Scrub Resistance</a:t>
            </a:r>
          </a:p>
        </p:txBody>
      </p:sp>
      <p:sp>
        <p:nvSpPr>
          <p:cNvPr id="34" name="TextBox 33">
            <a:extLst>
              <a:ext uri="{FF2B5EF4-FFF2-40B4-BE49-F238E27FC236}">
                <a16:creationId xmlns:a16="http://schemas.microsoft.com/office/drawing/2014/main" id="{0C4ECCD6-B965-89E8-DCFF-FA3473E194DF}"/>
              </a:ext>
            </a:extLst>
          </p:cNvPr>
          <p:cNvSpPr txBox="1"/>
          <p:nvPr/>
        </p:nvSpPr>
        <p:spPr>
          <a:xfrm>
            <a:off x="8266657" y="3574366"/>
            <a:ext cx="677768" cy="244906"/>
          </a:xfrm>
          <a:prstGeom prst="rect">
            <a:avLst/>
          </a:prstGeom>
          <a:noFill/>
        </p:spPr>
        <p:txBody>
          <a:bodyPr wrap="square" lIns="0" tIns="0" rIns="0" bIns="0" rtlCol="0" anchor="ctr">
            <a:noAutofit/>
          </a:bodyPr>
          <a:lstStyle/>
          <a:p>
            <a:pPr algn="ctr"/>
            <a:r>
              <a:rPr lang="en-US" sz="700" b="1" dirty="0">
                <a:latin typeface="Calibri" panose="020F0502020204030204" pitchFamily="34" charset="0"/>
                <a:cs typeface="Calibri" panose="020F0502020204030204" pitchFamily="34" charset="0"/>
              </a:rPr>
              <a:t>Anti-bacterial &amp; anti-fungal</a:t>
            </a:r>
          </a:p>
        </p:txBody>
      </p:sp>
    </p:spTree>
    <p:extLst>
      <p:ext uri="{BB962C8B-B14F-4D97-AF65-F5344CB8AC3E}">
        <p14:creationId xmlns:p14="http://schemas.microsoft.com/office/powerpoint/2010/main" val="16604451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8" name="Picture 10">
            <a:extLst>
              <a:ext uri="{FF2B5EF4-FFF2-40B4-BE49-F238E27FC236}">
                <a16:creationId xmlns:a16="http://schemas.microsoft.com/office/drawing/2014/main" id="{4BF6E7EA-19B9-8C71-9E0F-FEF3E4B9584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17277" y="2661785"/>
            <a:ext cx="1922704" cy="1080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556ED887-E757-4575-0DA2-3EA5089C7AFA}"/>
              </a:ext>
            </a:extLst>
          </p:cNvPr>
          <p:cNvPicPr>
            <a:picLocks noChangeAspect="1"/>
          </p:cNvPicPr>
          <p:nvPr/>
        </p:nvPicPr>
        <p:blipFill>
          <a:blip r:embed="rId3"/>
          <a:stretch>
            <a:fillRect/>
          </a:stretch>
        </p:blipFill>
        <p:spPr>
          <a:xfrm>
            <a:off x="3175475" y="2080692"/>
            <a:ext cx="3598145" cy="2021110"/>
          </a:xfrm>
          <a:prstGeom prst="rect">
            <a:avLst/>
          </a:prstGeom>
        </p:spPr>
      </p:pic>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a:t>
            </a:r>
            <a:r>
              <a:rPr lang="en-SG" dirty="0" err="1">
                <a:latin typeface="Colour Sans" panose="02000503030000020004" pitchFamily="2" charset="0"/>
              </a:rPr>
              <a:t>SuperClean</a:t>
            </a:r>
            <a:r>
              <a:rPr lang="en-SG" dirty="0">
                <a:latin typeface="Colour Sans" panose="02000503030000020004" pitchFamily="2" charset="0"/>
              </a:rPr>
              <a:t> 3in1 </a:t>
            </a: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nvGraphicFramePr>
        <p:xfrm>
          <a:off x="81793" y="581122"/>
          <a:ext cx="4165617" cy="2822574"/>
        </p:xfrm>
        <a:graphic>
          <a:graphicData uri="http://schemas.openxmlformats.org/drawingml/2006/table">
            <a:tbl>
              <a:tblPr firstRow="1" bandRow="1">
                <a:tableStyleId>{5940675A-B579-460E-94D1-54222C63F5DA}</a:tableStyleId>
              </a:tblPr>
              <a:tblGrid>
                <a:gridCol w="4165617">
                  <a:extLst>
                    <a:ext uri="{9D8B030D-6E8A-4147-A177-3AD203B41FA5}">
                      <a16:colId xmlns:a16="http://schemas.microsoft.com/office/drawing/2014/main" val="965239065"/>
                    </a:ext>
                  </a:extLst>
                </a:gridCol>
              </a:tblGrid>
              <a:tr h="318935">
                <a:tc>
                  <a:txBody>
                    <a:bodyPr/>
                    <a:lstStyle/>
                    <a:p>
                      <a:r>
                        <a:rPr lang="en-SG" sz="14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621923">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When painting a room, I want my walls to look good and stand the test of time however I know that daily life will eventually take its toll on them</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318935">
                <a:tc>
                  <a:txBody>
                    <a:bodyPr/>
                    <a:lstStyle/>
                    <a:p>
                      <a:r>
                        <a:rPr lang="en-SG" sz="14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621923">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Dulux </a:t>
                      </a:r>
                      <a:r>
                        <a:rPr lang="en-SG" sz="1100" b="0" dirty="0" err="1">
                          <a:latin typeface="Open Sans" panose="020B0606030504020204" pitchFamily="34" charset="0"/>
                          <a:ea typeface="Open Sans" panose="020B0606030504020204" pitchFamily="34" charset="0"/>
                          <a:cs typeface="Open Sans" panose="020B0606030504020204" pitchFamily="34" charset="0"/>
                        </a:rPr>
                        <a:t>SuperClean</a:t>
                      </a:r>
                      <a:r>
                        <a:rPr lang="en-SG" sz="1100" b="0" dirty="0">
                          <a:latin typeface="Open Sans" panose="020B0606030504020204" pitchFamily="34" charset="0"/>
                          <a:ea typeface="Open Sans" panose="020B0606030504020204" pitchFamily="34" charset="0"/>
                          <a:cs typeface="Open Sans" panose="020B0606030504020204" pitchFamily="34" charset="0"/>
                        </a:rPr>
                        <a:t> 3in1 with its unique </a:t>
                      </a:r>
                      <a:r>
                        <a:rPr lang="en-SG" sz="1100" b="0" dirty="0" err="1">
                          <a:latin typeface="Open Sans" panose="020B0606030504020204" pitchFamily="34" charset="0"/>
                          <a:ea typeface="Open Sans" panose="020B0606030504020204" pitchFamily="34" charset="0"/>
                          <a:cs typeface="Open Sans" panose="020B0606030504020204" pitchFamily="34" charset="0"/>
                        </a:rPr>
                        <a:t>Kidproof</a:t>
                      </a:r>
                      <a:r>
                        <a:rPr lang="en-SG" sz="1100" b="0" dirty="0">
                          <a:latin typeface="Open Sans" panose="020B0606030504020204" pitchFamily="34" charset="0"/>
                          <a:ea typeface="Open Sans" panose="020B0606030504020204" pitchFamily="34" charset="0"/>
                          <a:cs typeface="Open Sans" panose="020B0606030504020204" pitchFamily="34" charset="0"/>
                        </a:rPr>
                        <a:t>+ technology, that delays stains from penetrating and can be easily wiped away, leaving walls looking fresh and clea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318935">
                <a:tc>
                  <a:txBody>
                    <a:bodyPr/>
                    <a:lstStyle/>
                    <a:p>
                      <a:r>
                        <a:rPr lang="en-SG" sz="14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621923">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Good looking walls with added germ protection that keep your walls looking sparkling clean and fresh, for a long tim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8" name="Rectangle: Diagonal Corners Rounded 7" descr="Yellow paint applied with a paint roller on a grey surface">
            <a:extLst>
              <a:ext uri="{FF2B5EF4-FFF2-40B4-BE49-F238E27FC236}">
                <a16:creationId xmlns:a16="http://schemas.microsoft.com/office/drawing/2014/main" id="{463A00BC-F647-8EFD-DBDD-262CF5B11BD7}"/>
              </a:ext>
            </a:extLst>
          </p:cNvPr>
          <p:cNvSpPr/>
          <p:nvPr/>
        </p:nvSpPr>
        <p:spPr>
          <a:xfrm>
            <a:off x="4695085" y="710059"/>
            <a:ext cx="2381989" cy="1472767"/>
          </a:xfrm>
          <a:prstGeom prst="round2DiagRect">
            <a:avLst>
              <a:gd name="adj1" fmla="val 0"/>
              <a:gd name="adj2" fmla="val 14184"/>
            </a:avLst>
          </a:prstGeom>
          <a:blipFill dpi="0" rotWithShape="1">
            <a:blip r:embed="rId4">
              <a:extLst>
                <a:ext uri="{28A0092B-C50C-407E-A947-70E740481C1C}">
                  <a14:useLocalDpi xmlns:a14="http://schemas.microsoft.com/office/drawing/2010/main" val="0"/>
                </a:ext>
              </a:extLst>
            </a:blip>
            <a:srcRect/>
            <a:stretch>
              <a:fillRect/>
            </a:stretch>
          </a:blip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SG" dirty="0" err="1"/>
          </a:p>
        </p:txBody>
      </p:sp>
      <p:sp>
        <p:nvSpPr>
          <p:cNvPr id="17" name="TextBox 16">
            <a:extLst>
              <a:ext uri="{FF2B5EF4-FFF2-40B4-BE49-F238E27FC236}">
                <a16:creationId xmlns:a16="http://schemas.microsoft.com/office/drawing/2014/main" id="{2C1BCB6B-5C11-4256-50CE-FFE4CEE4EB7C}"/>
              </a:ext>
            </a:extLst>
          </p:cNvPr>
          <p:cNvSpPr txBox="1"/>
          <p:nvPr/>
        </p:nvSpPr>
        <p:spPr>
          <a:xfrm>
            <a:off x="135951" y="3757726"/>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524750" y="1916074"/>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4L, 10L &amp; 20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nvGraphicFramePr>
        <p:xfrm>
          <a:off x="193626" y="4021041"/>
          <a:ext cx="3272865" cy="907717"/>
        </p:xfrm>
        <a:graphic>
          <a:graphicData uri="http://schemas.openxmlformats.org/drawingml/2006/table">
            <a:tbl>
              <a:tblPr firstRow="1" bandRow="1">
                <a:tableStyleId>{2D5ABB26-0587-4C30-8999-92F81FD0307C}</a:tableStyleId>
              </a:tblPr>
              <a:tblGrid>
                <a:gridCol w="1580310">
                  <a:extLst>
                    <a:ext uri="{9D8B030D-6E8A-4147-A177-3AD203B41FA5}">
                      <a16:colId xmlns:a16="http://schemas.microsoft.com/office/drawing/2014/main" val="2714193207"/>
                    </a:ext>
                  </a:extLst>
                </a:gridCol>
                <a:gridCol w="1692555">
                  <a:extLst>
                    <a:ext uri="{9D8B030D-6E8A-4147-A177-3AD203B41FA5}">
                      <a16:colId xmlns:a16="http://schemas.microsoft.com/office/drawing/2014/main" val="402161752"/>
                    </a:ext>
                  </a:extLst>
                </a:gridCol>
              </a:tblGrid>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defTabSz="914400" rtl="0" eaLnBrk="1" fontAlgn="b" latinLnBrk="0" hangingPunct="1"/>
                      <a:r>
                        <a:rPr lang="en-SG" sz="1100" b="0" i="0" u="none" strike="noStrike" kern="1200" dirty="0">
                          <a:solidFill>
                            <a:srgbClr val="000000"/>
                          </a:solidFill>
                          <a:effectLst/>
                          <a:latin typeface="Colour Sans" panose="02000503030000020004" pitchFamily="2" charset="0"/>
                          <a:ea typeface="+mn-ea"/>
                          <a:cs typeface="+mn-cs"/>
                        </a:rPr>
                        <a:t>Smooth finis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SG" sz="1100" b="0" i="0" u="none" strike="noStrike" kern="1200" noProof="0" dirty="0">
                          <a:solidFill>
                            <a:srgbClr val="000000"/>
                          </a:solidFill>
                          <a:effectLst/>
                          <a:latin typeface="Colour Sans" panose="02000503030000020004" pitchFamily="2" charset="0"/>
                          <a:ea typeface="+mn-ea"/>
                          <a:cs typeface="+mn-cs"/>
                        </a:rPr>
                        <a:t>12-14 </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endParaRPr lang="en-SG" sz="1100" b="0" i="0" u="none" strike="noStrike" kern="1200" noProof="0" dirty="0">
                        <a:solidFill>
                          <a:srgbClr val="000000"/>
                        </a:solidFill>
                        <a:effectLst/>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Hig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32705">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2077</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nvGraphicFramePr>
        <p:xfrm>
          <a:off x="3524166" y="4021041"/>
          <a:ext cx="3614969" cy="900016"/>
        </p:xfrm>
        <a:graphic>
          <a:graphicData uri="http://schemas.openxmlformats.org/drawingml/2006/table">
            <a:tbl>
              <a:tblPr firstRow="1" bandRow="1">
                <a:tableStyleId>{2D5ABB26-0587-4C30-8999-92F81FD0307C}</a:tableStyleId>
              </a:tblPr>
              <a:tblGrid>
                <a:gridCol w="1930400">
                  <a:extLst>
                    <a:ext uri="{9D8B030D-6E8A-4147-A177-3AD203B41FA5}">
                      <a16:colId xmlns:a16="http://schemas.microsoft.com/office/drawing/2014/main" val="3738590716"/>
                    </a:ext>
                  </a:extLst>
                </a:gridCol>
                <a:gridCol w="1684569">
                  <a:extLst>
                    <a:ext uri="{9D8B030D-6E8A-4147-A177-3AD203B41FA5}">
                      <a16:colId xmlns:a16="http://schemas.microsoft.com/office/drawing/2014/main" val="3750538898"/>
                    </a:ext>
                  </a:extLst>
                </a:gridCol>
              </a:tblGrid>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Wash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Best in Clas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Fastness</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Superior</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Mould &amp; Fungus Protection</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Superior</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Dur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ong lasting</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3" name="TextBox 2">
            <a:extLst>
              <a:ext uri="{FF2B5EF4-FFF2-40B4-BE49-F238E27FC236}">
                <a16:creationId xmlns:a16="http://schemas.microsoft.com/office/drawing/2014/main" id="{AFD677D1-9819-3FCB-8A3D-13672FC713BF}"/>
              </a:ext>
            </a:extLst>
          </p:cNvPr>
          <p:cNvSpPr txBox="1"/>
          <p:nvPr/>
        </p:nvSpPr>
        <p:spPr>
          <a:xfrm>
            <a:off x="7392647" y="4021040"/>
            <a:ext cx="1557726" cy="900015"/>
          </a:xfrm>
          <a:prstGeom prst="rect">
            <a:avLst/>
          </a:prstGeom>
          <a:noFill/>
        </p:spPr>
        <p:txBody>
          <a:bodyPr wrap="square" lIns="0" tIns="0" rIns="0" bIns="0" rtlCol="0">
            <a:noAutofit/>
          </a:bodyPr>
          <a:lstStyle/>
          <a:p>
            <a:r>
              <a:rPr lang="en-SG" sz="1400" b="0" dirty="0">
                <a:latin typeface="Colour Sans" panose="02000503030000020004" pitchFamily="2" charset="0"/>
              </a:rPr>
              <a:t>Other benefits:</a:t>
            </a:r>
          </a:p>
          <a:p>
            <a:pPr marL="285750" indent="-285750">
              <a:buFont typeface="Wingdings" panose="05000000000000000000" pitchFamily="2" charset="2"/>
              <a:buChar char="q"/>
            </a:pPr>
            <a:r>
              <a:rPr lang="en-SG" sz="1100" dirty="0">
                <a:latin typeface="Colour Sans" panose="02000503030000020004" pitchFamily="2" charset="0"/>
              </a:rPr>
              <a:t>Anti fungus</a:t>
            </a:r>
          </a:p>
          <a:p>
            <a:pPr marL="285750" indent="-285750">
              <a:buFont typeface="Wingdings" panose="05000000000000000000" pitchFamily="2" charset="2"/>
              <a:buChar char="q"/>
            </a:pPr>
            <a:r>
              <a:rPr lang="en-SG" sz="1100" dirty="0">
                <a:latin typeface="Colour Sans" panose="02000503030000020004" pitchFamily="2" charset="0"/>
              </a:rPr>
              <a:t>Anti Mould</a:t>
            </a:r>
          </a:p>
          <a:p>
            <a:pPr marL="285750" indent="-285750">
              <a:buFont typeface="Wingdings" panose="05000000000000000000" pitchFamily="2" charset="2"/>
              <a:buChar char="q"/>
            </a:pPr>
            <a:r>
              <a:rPr lang="en-SG" sz="1100" dirty="0">
                <a:latin typeface="Colour Sans" panose="02000503030000020004" pitchFamily="2" charset="0"/>
              </a:rPr>
              <a:t>Low Odour / VOC</a:t>
            </a:r>
          </a:p>
          <a:p>
            <a:endParaRPr lang="en-SG" sz="1400" b="0" dirty="0">
              <a:latin typeface="Colour Sans" panose="02000503030000020004" pitchFamily="2" charset="0"/>
            </a:endParaRPr>
          </a:p>
        </p:txBody>
      </p:sp>
      <p:pic>
        <p:nvPicPr>
          <p:cNvPr id="12" name="Picture 11">
            <a:extLst>
              <a:ext uri="{FF2B5EF4-FFF2-40B4-BE49-F238E27FC236}">
                <a16:creationId xmlns:a16="http://schemas.microsoft.com/office/drawing/2014/main" id="{CA252A3D-EED0-3FCD-AD94-C4F30AAEF69E}"/>
              </a:ext>
            </a:extLst>
          </p:cNvPr>
          <p:cNvPicPr>
            <a:picLocks noChangeAspect="1"/>
          </p:cNvPicPr>
          <p:nvPr/>
        </p:nvPicPr>
        <p:blipFill>
          <a:blip r:embed="rId5"/>
          <a:stretch>
            <a:fillRect/>
          </a:stretch>
        </p:blipFill>
        <p:spPr>
          <a:xfrm>
            <a:off x="7679402" y="2654084"/>
            <a:ext cx="1922704" cy="1080000"/>
          </a:xfrm>
          <a:prstGeom prst="rect">
            <a:avLst/>
          </a:prstGeom>
        </p:spPr>
      </p:pic>
      <p:pic>
        <p:nvPicPr>
          <p:cNvPr id="14" name="Picture 13" descr="Logo&#10;&#10;Description automatically generated">
            <a:extLst>
              <a:ext uri="{FF2B5EF4-FFF2-40B4-BE49-F238E27FC236}">
                <a16:creationId xmlns:a16="http://schemas.microsoft.com/office/drawing/2014/main" id="{2089DE84-6A7F-15EF-0AD2-9FD496AB8BBA}"/>
              </a:ext>
            </a:extLst>
          </p:cNvPr>
          <p:cNvPicPr>
            <a:picLocks noChangeAspect="1"/>
          </p:cNvPicPr>
          <p:nvPr/>
        </p:nvPicPr>
        <p:blipFill>
          <a:blip r:embed="rId6"/>
          <a:stretch>
            <a:fillRect/>
          </a:stretch>
        </p:blipFill>
        <p:spPr>
          <a:xfrm>
            <a:off x="5022171" y="2554626"/>
            <a:ext cx="2111371" cy="1185976"/>
          </a:xfrm>
          <a:prstGeom prst="rect">
            <a:avLst/>
          </a:prstGeom>
        </p:spPr>
      </p:pic>
      <p:pic>
        <p:nvPicPr>
          <p:cNvPr id="16" name="Picture 15">
            <a:extLst>
              <a:ext uri="{FF2B5EF4-FFF2-40B4-BE49-F238E27FC236}">
                <a16:creationId xmlns:a16="http://schemas.microsoft.com/office/drawing/2014/main" id="{88C0920A-1A48-1784-95D5-FB0A57C29F42}"/>
              </a:ext>
            </a:extLst>
          </p:cNvPr>
          <p:cNvPicPr>
            <a:picLocks noChangeAspect="1"/>
          </p:cNvPicPr>
          <p:nvPr/>
        </p:nvPicPr>
        <p:blipFill>
          <a:blip r:embed="rId7"/>
          <a:stretch>
            <a:fillRect/>
          </a:stretch>
        </p:blipFill>
        <p:spPr>
          <a:xfrm>
            <a:off x="7400586" y="2830116"/>
            <a:ext cx="751802" cy="727935"/>
          </a:xfrm>
          <a:prstGeom prst="rect">
            <a:avLst/>
          </a:prstGeom>
        </p:spPr>
      </p:pic>
      <p:pic>
        <p:nvPicPr>
          <p:cNvPr id="6" name="Picture 5" descr="A blue container with a child drawing on it&#10;&#10;Description automatically generated">
            <a:extLst>
              <a:ext uri="{FF2B5EF4-FFF2-40B4-BE49-F238E27FC236}">
                <a16:creationId xmlns:a16="http://schemas.microsoft.com/office/drawing/2014/main" id="{DE788797-FC47-B032-5894-DFEE0675042A}"/>
              </a:ext>
            </a:extLst>
          </p:cNvPr>
          <p:cNvPicPr>
            <a:picLocks noChangeAspect="1"/>
          </p:cNvPicPr>
          <p:nvPr/>
        </p:nvPicPr>
        <p:blipFill>
          <a:blip r:embed="rId8"/>
          <a:stretch>
            <a:fillRect/>
          </a:stretch>
        </p:blipFill>
        <p:spPr>
          <a:xfrm>
            <a:off x="7257062" y="77066"/>
            <a:ext cx="1499342" cy="1655274"/>
          </a:xfrm>
          <a:prstGeom prst="rect">
            <a:avLst/>
          </a:prstGeom>
        </p:spPr>
      </p:pic>
    </p:spTree>
    <p:extLst>
      <p:ext uri="{BB962C8B-B14F-4D97-AF65-F5344CB8AC3E}">
        <p14:creationId xmlns:p14="http://schemas.microsoft.com/office/powerpoint/2010/main" val="27179077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a:extLst>
              <a:ext uri="{FF2B5EF4-FFF2-40B4-BE49-F238E27FC236}">
                <a16:creationId xmlns:a16="http://schemas.microsoft.com/office/drawing/2014/main" id="{06114758-7E17-F596-220A-ECF39843A15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43888" y="2684681"/>
            <a:ext cx="1922704" cy="108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a:t>
            </a:r>
            <a:r>
              <a:rPr lang="en-SG" dirty="0" err="1">
                <a:latin typeface="Colour Sans" panose="02000503030000020004" pitchFamily="2" charset="0"/>
              </a:rPr>
              <a:t>SuperClean</a:t>
            </a:r>
            <a:endParaRPr lang="en-SG" dirty="0">
              <a:latin typeface="Colour Sans" panose="02000503030000020004" pitchFamily="2" charset="0"/>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nvGraphicFramePr>
        <p:xfrm>
          <a:off x="81793" y="581122"/>
          <a:ext cx="4165617" cy="2822574"/>
        </p:xfrm>
        <a:graphic>
          <a:graphicData uri="http://schemas.openxmlformats.org/drawingml/2006/table">
            <a:tbl>
              <a:tblPr firstRow="1" bandRow="1">
                <a:tableStyleId>{5940675A-B579-460E-94D1-54222C63F5DA}</a:tableStyleId>
              </a:tblPr>
              <a:tblGrid>
                <a:gridCol w="4165617">
                  <a:extLst>
                    <a:ext uri="{9D8B030D-6E8A-4147-A177-3AD203B41FA5}">
                      <a16:colId xmlns:a16="http://schemas.microsoft.com/office/drawing/2014/main" val="965239065"/>
                    </a:ext>
                  </a:extLst>
                </a:gridCol>
              </a:tblGrid>
              <a:tr h="318935">
                <a:tc>
                  <a:txBody>
                    <a:bodyPr/>
                    <a:lstStyle/>
                    <a:p>
                      <a:r>
                        <a:rPr lang="en-SG" sz="14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621923">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I want my walls to look beautiful, but I know that they can be easily spoiled by stains and marks, that remain even after cleanin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318935">
                <a:tc>
                  <a:txBody>
                    <a:bodyPr/>
                    <a:lstStyle/>
                    <a:p>
                      <a:r>
                        <a:rPr lang="en-SG" sz="14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621923">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Dulux </a:t>
                      </a:r>
                      <a:r>
                        <a:rPr lang="en-SG" sz="1100" b="0" dirty="0" err="1">
                          <a:latin typeface="Open Sans" panose="020B0606030504020204" pitchFamily="34" charset="0"/>
                          <a:ea typeface="Open Sans" panose="020B0606030504020204" pitchFamily="34" charset="0"/>
                          <a:cs typeface="Open Sans" panose="020B0606030504020204" pitchFamily="34" charset="0"/>
                        </a:rPr>
                        <a:t>SuperClean</a:t>
                      </a:r>
                      <a:r>
                        <a:rPr lang="en-SG" sz="1100" b="0" dirty="0">
                          <a:latin typeface="Open Sans" panose="020B0606030504020204" pitchFamily="34" charset="0"/>
                          <a:ea typeface="Open Sans" panose="020B0606030504020204" pitchFamily="34" charset="0"/>
                          <a:cs typeface="Open Sans" panose="020B0606030504020204" pitchFamily="34" charset="0"/>
                        </a:rPr>
                        <a:t> has high washability that combines with </a:t>
                      </a:r>
                      <a:r>
                        <a:rPr lang="en-SG" sz="1100" b="0" dirty="0" err="1">
                          <a:latin typeface="Open Sans" panose="020B0606030504020204" pitchFamily="34" charset="0"/>
                          <a:ea typeface="Open Sans" panose="020B0606030504020204" pitchFamily="34" charset="0"/>
                          <a:cs typeface="Open Sans" panose="020B0606030504020204" pitchFamily="34" charset="0"/>
                        </a:rPr>
                        <a:t>ColourGuard</a:t>
                      </a:r>
                      <a:r>
                        <a:rPr lang="en-SG" sz="1100" b="0" dirty="0">
                          <a:latin typeface="Open Sans" panose="020B0606030504020204" pitchFamily="34" charset="0"/>
                          <a:ea typeface="Open Sans" panose="020B0606030504020204" pitchFamily="34" charset="0"/>
                          <a:cs typeface="Open Sans" panose="020B0606030504020204" pitchFamily="34" charset="0"/>
                        </a:rPr>
                        <a:t> technology, to provide walls that look good and withstand normal stains that can be easily cleane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318935">
                <a:tc>
                  <a:txBody>
                    <a:bodyPr/>
                    <a:lstStyle/>
                    <a:p>
                      <a:r>
                        <a:rPr lang="en-SG" sz="14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621923">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Clean walls, that can withstand tough stains and are easily washable, leaving the walls spotlessly clean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35951" y="3757726"/>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524750" y="1916074"/>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4L,10L &amp; 20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nvGraphicFramePr>
        <p:xfrm>
          <a:off x="193626" y="4021041"/>
          <a:ext cx="3272865" cy="907717"/>
        </p:xfrm>
        <a:graphic>
          <a:graphicData uri="http://schemas.openxmlformats.org/drawingml/2006/table">
            <a:tbl>
              <a:tblPr firstRow="1" bandRow="1">
                <a:tableStyleId>{2D5ABB26-0587-4C30-8999-92F81FD0307C}</a:tableStyleId>
              </a:tblPr>
              <a:tblGrid>
                <a:gridCol w="1580310">
                  <a:extLst>
                    <a:ext uri="{9D8B030D-6E8A-4147-A177-3AD203B41FA5}">
                      <a16:colId xmlns:a16="http://schemas.microsoft.com/office/drawing/2014/main" val="2714193207"/>
                    </a:ext>
                  </a:extLst>
                </a:gridCol>
                <a:gridCol w="1692555">
                  <a:extLst>
                    <a:ext uri="{9D8B030D-6E8A-4147-A177-3AD203B41FA5}">
                      <a16:colId xmlns:a16="http://schemas.microsoft.com/office/drawing/2014/main" val="402161752"/>
                    </a:ext>
                  </a:extLst>
                </a:gridCol>
              </a:tblGrid>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defTabSz="914400" rtl="0" eaLnBrk="1" fontAlgn="b" latinLnBrk="0" hangingPunct="1"/>
                      <a:r>
                        <a:rPr lang="en-SG" sz="1100" b="0" i="0" u="none" strike="noStrike" kern="1200" dirty="0">
                          <a:solidFill>
                            <a:srgbClr val="000000"/>
                          </a:solidFill>
                          <a:effectLst/>
                          <a:latin typeface="Colour Sans" panose="02000503030000020004" pitchFamily="2" charset="0"/>
                          <a:ea typeface="+mn-ea"/>
                          <a:cs typeface="+mn-cs"/>
                        </a:rPr>
                        <a:t>Smooth finis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SG" sz="1100" b="0" i="0" u="none" strike="noStrike" kern="1200" noProof="0" dirty="0">
                          <a:solidFill>
                            <a:srgbClr val="000000"/>
                          </a:solidFill>
                          <a:effectLst/>
                          <a:latin typeface="Colour Sans" panose="02000503030000020004" pitchFamily="2" charset="0"/>
                          <a:ea typeface="+mn-ea"/>
                          <a:cs typeface="+mn-cs"/>
                        </a:rPr>
                        <a:t>12-14 </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endParaRPr lang="en-SG" sz="1100" b="0" i="0" u="none" strike="noStrike" kern="1200" noProof="0" dirty="0">
                        <a:solidFill>
                          <a:srgbClr val="000000"/>
                        </a:solidFill>
                        <a:effectLst/>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Hig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32705">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2000+</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nvGraphicFramePr>
        <p:xfrm>
          <a:off x="3524166" y="4021041"/>
          <a:ext cx="3614969" cy="900016"/>
        </p:xfrm>
        <a:graphic>
          <a:graphicData uri="http://schemas.openxmlformats.org/drawingml/2006/table">
            <a:tbl>
              <a:tblPr firstRow="1" bandRow="1">
                <a:tableStyleId>{2D5ABB26-0587-4C30-8999-92F81FD0307C}</a:tableStyleId>
              </a:tblPr>
              <a:tblGrid>
                <a:gridCol w="1930400">
                  <a:extLst>
                    <a:ext uri="{9D8B030D-6E8A-4147-A177-3AD203B41FA5}">
                      <a16:colId xmlns:a16="http://schemas.microsoft.com/office/drawing/2014/main" val="3738590716"/>
                    </a:ext>
                  </a:extLst>
                </a:gridCol>
                <a:gridCol w="1684569">
                  <a:extLst>
                    <a:ext uri="{9D8B030D-6E8A-4147-A177-3AD203B41FA5}">
                      <a16:colId xmlns:a16="http://schemas.microsoft.com/office/drawing/2014/main" val="3750538898"/>
                    </a:ext>
                  </a:extLst>
                </a:gridCol>
              </a:tblGrid>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Wash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Superior</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Fastness</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Superior</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Mould &amp; Fungus Protection</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Superior</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Dur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ong lasting</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3" name="TextBox 2">
            <a:extLst>
              <a:ext uri="{FF2B5EF4-FFF2-40B4-BE49-F238E27FC236}">
                <a16:creationId xmlns:a16="http://schemas.microsoft.com/office/drawing/2014/main" id="{AFD677D1-9819-3FCB-8A3D-13672FC713BF}"/>
              </a:ext>
            </a:extLst>
          </p:cNvPr>
          <p:cNvSpPr txBox="1"/>
          <p:nvPr/>
        </p:nvSpPr>
        <p:spPr>
          <a:xfrm>
            <a:off x="7392647" y="4021040"/>
            <a:ext cx="1557726" cy="900015"/>
          </a:xfrm>
          <a:prstGeom prst="rect">
            <a:avLst/>
          </a:prstGeom>
          <a:noFill/>
        </p:spPr>
        <p:txBody>
          <a:bodyPr wrap="square" lIns="0" tIns="0" rIns="0" bIns="0" rtlCol="0">
            <a:noAutofit/>
          </a:bodyPr>
          <a:lstStyle/>
          <a:p>
            <a:r>
              <a:rPr lang="en-SG" sz="1400" b="0" dirty="0">
                <a:latin typeface="Colour Sans" panose="02000503030000020004" pitchFamily="2" charset="0"/>
              </a:rPr>
              <a:t>Other benefits:</a:t>
            </a:r>
          </a:p>
          <a:p>
            <a:pPr marL="285750" indent="-285750">
              <a:buFont typeface="Wingdings" panose="05000000000000000000" pitchFamily="2" charset="2"/>
              <a:buChar char="q"/>
            </a:pPr>
            <a:r>
              <a:rPr lang="en-SG" sz="1100" dirty="0">
                <a:latin typeface="Colour Sans" panose="02000503030000020004" pitchFamily="2" charset="0"/>
              </a:rPr>
              <a:t>Anti fungus</a:t>
            </a:r>
          </a:p>
          <a:p>
            <a:pPr marL="285750" indent="-285750">
              <a:buFont typeface="Wingdings" panose="05000000000000000000" pitchFamily="2" charset="2"/>
              <a:buChar char="q"/>
            </a:pPr>
            <a:r>
              <a:rPr lang="en-SG" sz="1100" dirty="0">
                <a:latin typeface="Colour Sans" panose="02000503030000020004" pitchFamily="2" charset="0"/>
              </a:rPr>
              <a:t>Anti Mould</a:t>
            </a:r>
          </a:p>
          <a:p>
            <a:pPr marL="285750" indent="-285750">
              <a:buFont typeface="Wingdings" panose="05000000000000000000" pitchFamily="2" charset="2"/>
              <a:buChar char="q"/>
            </a:pPr>
            <a:r>
              <a:rPr lang="en-SG" sz="1100" dirty="0">
                <a:latin typeface="Colour Sans" panose="02000503030000020004" pitchFamily="2" charset="0"/>
              </a:rPr>
              <a:t>Low odour / VOC</a:t>
            </a:r>
          </a:p>
          <a:p>
            <a:endParaRPr lang="en-SG" sz="1400" b="0" dirty="0">
              <a:latin typeface="Colour Sans" panose="02000503030000020004" pitchFamily="2" charset="0"/>
            </a:endParaRPr>
          </a:p>
        </p:txBody>
      </p:sp>
      <p:pic>
        <p:nvPicPr>
          <p:cNvPr id="11" name="Picture 10">
            <a:extLst>
              <a:ext uri="{FF2B5EF4-FFF2-40B4-BE49-F238E27FC236}">
                <a16:creationId xmlns:a16="http://schemas.microsoft.com/office/drawing/2014/main" id="{91C2D7AC-AD02-6308-081E-EAA73192A453}"/>
              </a:ext>
            </a:extLst>
          </p:cNvPr>
          <p:cNvPicPr>
            <a:picLocks noChangeAspect="1"/>
          </p:cNvPicPr>
          <p:nvPr/>
        </p:nvPicPr>
        <p:blipFill>
          <a:blip r:embed="rId3"/>
          <a:stretch>
            <a:fillRect/>
          </a:stretch>
        </p:blipFill>
        <p:spPr>
          <a:xfrm>
            <a:off x="6075889" y="2684681"/>
            <a:ext cx="1922704" cy="1080000"/>
          </a:xfrm>
          <a:prstGeom prst="rect">
            <a:avLst/>
          </a:prstGeom>
        </p:spPr>
      </p:pic>
      <p:pic>
        <p:nvPicPr>
          <p:cNvPr id="6" name="Picture 5">
            <a:extLst>
              <a:ext uri="{FF2B5EF4-FFF2-40B4-BE49-F238E27FC236}">
                <a16:creationId xmlns:a16="http://schemas.microsoft.com/office/drawing/2014/main" id="{6290D4EE-9A3D-A57A-A9F9-8349D8BBD2BE}"/>
              </a:ext>
            </a:extLst>
          </p:cNvPr>
          <p:cNvPicPr>
            <a:picLocks noChangeAspect="1"/>
          </p:cNvPicPr>
          <p:nvPr/>
        </p:nvPicPr>
        <p:blipFill>
          <a:blip r:embed="rId4"/>
          <a:stretch>
            <a:fillRect/>
          </a:stretch>
        </p:blipFill>
        <p:spPr>
          <a:xfrm>
            <a:off x="5843123" y="2844507"/>
            <a:ext cx="758405" cy="781562"/>
          </a:xfrm>
          <a:prstGeom prst="rect">
            <a:avLst/>
          </a:prstGeom>
        </p:spPr>
      </p:pic>
      <p:pic>
        <p:nvPicPr>
          <p:cNvPr id="12" name="Picture 11">
            <a:extLst>
              <a:ext uri="{FF2B5EF4-FFF2-40B4-BE49-F238E27FC236}">
                <a16:creationId xmlns:a16="http://schemas.microsoft.com/office/drawing/2014/main" id="{7C85222E-C171-E287-676C-1C8888768664}"/>
              </a:ext>
            </a:extLst>
          </p:cNvPr>
          <p:cNvPicPr>
            <a:picLocks noChangeAspect="1"/>
          </p:cNvPicPr>
          <p:nvPr/>
        </p:nvPicPr>
        <p:blipFill>
          <a:blip r:embed="rId5"/>
          <a:stretch>
            <a:fillRect/>
          </a:stretch>
        </p:blipFill>
        <p:spPr>
          <a:xfrm>
            <a:off x="7805725" y="2695288"/>
            <a:ext cx="1922705" cy="1080000"/>
          </a:xfrm>
          <a:prstGeom prst="rect">
            <a:avLst/>
          </a:prstGeom>
        </p:spPr>
      </p:pic>
      <p:pic>
        <p:nvPicPr>
          <p:cNvPr id="7" name="Picture 6" descr="A blue and yellow container with a child painting&#10;&#10;Description automatically generated">
            <a:extLst>
              <a:ext uri="{FF2B5EF4-FFF2-40B4-BE49-F238E27FC236}">
                <a16:creationId xmlns:a16="http://schemas.microsoft.com/office/drawing/2014/main" id="{CA5F17B5-A4AB-19D8-EBBD-917B5D8A0B42}"/>
              </a:ext>
            </a:extLst>
          </p:cNvPr>
          <p:cNvPicPr>
            <a:picLocks noChangeAspect="1"/>
          </p:cNvPicPr>
          <p:nvPr/>
        </p:nvPicPr>
        <p:blipFill>
          <a:blip r:embed="rId6"/>
          <a:stretch>
            <a:fillRect/>
          </a:stretch>
        </p:blipFill>
        <p:spPr>
          <a:xfrm>
            <a:off x="7175673" y="157592"/>
            <a:ext cx="1645840" cy="1817007"/>
          </a:xfrm>
          <a:prstGeom prst="rect">
            <a:avLst/>
          </a:prstGeom>
        </p:spPr>
      </p:pic>
      <p:pic>
        <p:nvPicPr>
          <p:cNvPr id="13" name="Picture 12">
            <a:extLst>
              <a:ext uri="{FF2B5EF4-FFF2-40B4-BE49-F238E27FC236}">
                <a16:creationId xmlns:a16="http://schemas.microsoft.com/office/drawing/2014/main" id="{41785507-5B3A-00F0-7DE1-23E0037B509E}"/>
              </a:ext>
            </a:extLst>
          </p:cNvPr>
          <p:cNvPicPr>
            <a:picLocks noChangeAspect="1"/>
          </p:cNvPicPr>
          <p:nvPr/>
        </p:nvPicPr>
        <p:blipFill>
          <a:blip r:embed="rId7"/>
          <a:stretch>
            <a:fillRect/>
          </a:stretch>
        </p:blipFill>
        <p:spPr>
          <a:xfrm>
            <a:off x="4762526" y="2812991"/>
            <a:ext cx="863644" cy="844593"/>
          </a:xfrm>
          <a:prstGeom prst="rect">
            <a:avLst/>
          </a:prstGeom>
        </p:spPr>
      </p:pic>
      <p:pic>
        <p:nvPicPr>
          <p:cNvPr id="21" name="Picture 20">
            <a:extLst>
              <a:ext uri="{FF2B5EF4-FFF2-40B4-BE49-F238E27FC236}">
                <a16:creationId xmlns:a16="http://schemas.microsoft.com/office/drawing/2014/main" id="{4D82A0C2-18AD-53D5-B00C-F4F5CC9A0607}"/>
              </a:ext>
            </a:extLst>
          </p:cNvPr>
          <p:cNvPicPr>
            <a:picLocks noChangeAspect="1"/>
          </p:cNvPicPr>
          <p:nvPr/>
        </p:nvPicPr>
        <p:blipFill>
          <a:blip r:embed="rId8"/>
          <a:stretch>
            <a:fillRect/>
          </a:stretch>
        </p:blipFill>
        <p:spPr>
          <a:xfrm>
            <a:off x="4707706" y="113267"/>
            <a:ext cx="1827498" cy="2445579"/>
          </a:xfrm>
          <a:prstGeom prst="rect">
            <a:avLst/>
          </a:prstGeom>
        </p:spPr>
      </p:pic>
    </p:spTree>
    <p:extLst>
      <p:ext uri="{BB962C8B-B14F-4D97-AF65-F5344CB8AC3E}">
        <p14:creationId xmlns:p14="http://schemas.microsoft.com/office/powerpoint/2010/main" val="4527015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a:t>
            </a:r>
            <a:r>
              <a:rPr lang="en-SG" dirty="0" err="1">
                <a:latin typeface="Colour Sans" panose="02000503030000020004" pitchFamily="2" charset="0"/>
              </a:rPr>
              <a:t>SuperCover</a:t>
            </a:r>
            <a:r>
              <a:rPr lang="en-SG" dirty="0">
                <a:latin typeface="Colour Sans" panose="02000503030000020004" pitchFamily="2" charset="0"/>
              </a:rPr>
              <a:t> Ultra</a:t>
            </a: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nvGraphicFramePr>
        <p:xfrm>
          <a:off x="81793" y="581123"/>
          <a:ext cx="4165617" cy="3156214"/>
        </p:xfrm>
        <a:graphic>
          <a:graphicData uri="http://schemas.openxmlformats.org/drawingml/2006/table">
            <a:tbl>
              <a:tblPr firstRow="1" bandRow="1">
                <a:tableStyleId>{5940675A-B579-460E-94D1-54222C63F5DA}</a:tableStyleId>
              </a:tblPr>
              <a:tblGrid>
                <a:gridCol w="4165617">
                  <a:extLst>
                    <a:ext uri="{9D8B030D-6E8A-4147-A177-3AD203B41FA5}">
                      <a16:colId xmlns:a16="http://schemas.microsoft.com/office/drawing/2014/main" val="965239065"/>
                    </a:ext>
                  </a:extLst>
                </a:gridCol>
              </a:tblGrid>
              <a:tr h="293470">
                <a:tc>
                  <a:txBody>
                    <a:bodyPr/>
                    <a:lstStyle/>
                    <a:p>
                      <a:r>
                        <a:rPr lang="en-SG" sz="14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572267">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My home is my pride and I want it to look the best always. Over tim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93470">
                <a:tc>
                  <a:txBody>
                    <a:bodyPr/>
                    <a:lstStyle/>
                    <a:p>
                      <a:r>
                        <a:rPr lang="en-SG" sz="14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1009670">
                <a:tc>
                  <a:txBody>
                    <a:bodyPr/>
                    <a:lstStyle/>
                    <a:p>
                      <a:r>
                        <a:rPr lang="en-US" sz="1100" b="0" dirty="0">
                          <a:latin typeface="Open Sans" panose="020B0606030504020204" pitchFamily="34" charset="0"/>
                          <a:ea typeface="Open Sans" panose="020B0606030504020204" pitchFamily="34" charset="0"/>
                          <a:cs typeface="Open Sans" panose="020B0606030504020204" pitchFamily="34" charset="0"/>
                        </a:rPr>
                        <a:t>Dulux </a:t>
                      </a:r>
                      <a:r>
                        <a:rPr lang="en-US" sz="1100" b="0" dirty="0" err="1">
                          <a:latin typeface="Open Sans" panose="020B0606030504020204" pitchFamily="34" charset="0"/>
                          <a:ea typeface="Open Sans" panose="020B0606030504020204" pitchFamily="34" charset="0"/>
                          <a:cs typeface="Open Sans" panose="020B0606030504020204" pitchFamily="34" charset="0"/>
                        </a:rPr>
                        <a:t>SuperCover</a:t>
                      </a:r>
                      <a:r>
                        <a:rPr lang="en-US" sz="1100" b="0" dirty="0">
                          <a:latin typeface="Open Sans" panose="020B0606030504020204" pitchFamily="34" charset="0"/>
                          <a:ea typeface="Open Sans" panose="020B0606030504020204" pitchFamily="34" charset="0"/>
                          <a:cs typeface="Open Sans" panose="020B0606030504020204" pitchFamily="34" charset="0"/>
                        </a:rPr>
                        <a:t> Ultra is a smooth premium interior emulsion for walls &amp; ceilings that enables you </a:t>
                      </a:r>
                    </a:p>
                    <a:p>
                      <a:r>
                        <a:rPr lang="en-US" sz="1100" b="0" dirty="0">
                          <a:latin typeface="Open Sans" panose="020B0606030504020204" pitchFamily="34" charset="0"/>
                          <a:ea typeface="Open Sans" panose="020B0606030504020204" pitchFamily="34" charset="0"/>
                          <a:cs typeface="Open Sans" panose="020B0606030504020204" pitchFamily="34" charset="0"/>
                        </a:rPr>
                        <a:t>to bring home the long-lasting colors. It’s Silicon technology and Color guard technology ensures that these colors are protected from daily wear &amp; tear and last longer while providing high whiteness and hiding</a:t>
                      </a:r>
                      <a:endParaRPr lang="en-SG" sz="1100" b="0" dirty="0">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93470">
                <a:tc>
                  <a:txBody>
                    <a:bodyPr/>
                    <a:lstStyle/>
                    <a:p>
                      <a:r>
                        <a:rPr lang="en-SG" sz="14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572267">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Long Lasting paint with ultra-Whiteness and hidin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35951" y="3757726"/>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524750" y="1916074"/>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4L, 10L,20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nvGraphicFramePr>
        <p:xfrm>
          <a:off x="193626" y="4021041"/>
          <a:ext cx="3272865" cy="907717"/>
        </p:xfrm>
        <a:graphic>
          <a:graphicData uri="http://schemas.openxmlformats.org/drawingml/2006/table">
            <a:tbl>
              <a:tblPr firstRow="1" bandRow="1">
                <a:tableStyleId>{2D5ABB26-0587-4C30-8999-92F81FD0307C}</a:tableStyleId>
              </a:tblPr>
              <a:tblGrid>
                <a:gridCol w="1580310">
                  <a:extLst>
                    <a:ext uri="{9D8B030D-6E8A-4147-A177-3AD203B41FA5}">
                      <a16:colId xmlns:a16="http://schemas.microsoft.com/office/drawing/2014/main" val="2714193207"/>
                    </a:ext>
                  </a:extLst>
                </a:gridCol>
                <a:gridCol w="1692555">
                  <a:extLst>
                    <a:ext uri="{9D8B030D-6E8A-4147-A177-3AD203B41FA5}">
                      <a16:colId xmlns:a16="http://schemas.microsoft.com/office/drawing/2014/main" val="402161752"/>
                    </a:ext>
                  </a:extLst>
                </a:gridCol>
              </a:tblGrid>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defTabSz="914400" rtl="0" eaLnBrk="1" fontAlgn="b" latinLnBrk="0" hangingPunct="1"/>
                      <a:r>
                        <a:rPr lang="en-SG" sz="1100" b="0" i="0" u="none" strike="noStrike" kern="1200" dirty="0">
                          <a:solidFill>
                            <a:srgbClr val="000000"/>
                          </a:solidFill>
                          <a:effectLst/>
                          <a:latin typeface="Colour Sans" panose="02000503030000020004" pitchFamily="2" charset="0"/>
                          <a:ea typeface="+mn-ea"/>
                          <a:cs typeface="+mn-cs"/>
                        </a:rPr>
                        <a:t>Smooth finis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SG" sz="1100" b="0" i="0" u="none" strike="noStrike" kern="1200" noProof="0" dirty="0">
                          <a:solidFill>
                            <a:srgbClr val="000000"/>
                          </a:solidFill>
                          <a:effectLst/>
                          <a:latin typeface="Colour Sans" panose="02000503030000020004" pitchFamily="2" charset="0"/>
                          <a:ea typeface="+mn-ea"/>
                          <a:cs typeface="+mn-cs"/>
                        </a:rPr>
                        <a:t>12-14 </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endParaRPr lang="en-SG" sz="1100" b="0" i="0" u="none" strike="noStrike" kern="1200" noProof="0" dirty="0">
                        <a:solidFill>
                          <a:srgbClr val="000000"/>
                        </a:solidFill>
                        <a:effectLst/>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Hig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32705">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2000+</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nvGraphicFramePr>
        <p:xfrm>
          <a:off x="3524166" y="4021041"/>
          <a:ext cx="3614969" cy="900016"/>
        </p:xfrm>
        <a:graphic>
          <a:graphicData uri="http://schemas.openxmlformats.org/drawingml/2006/table">
            <a:tbl>
              <a:tblPr firstRow="1" bandRow="1">
                <a:tableStyleId>{2D5ABB26-0587-4C30-8999-92F81FD0307C}</a:tableStyleId>
              </a:tblPr>
              <a:tblGrid>
                <a:gridCol w="1930400">
                  <a:extLst>
                    <a:ext uri="{9D8B030D-6E8A-4147-A177-3AD203B41FA5}">
                      <a16:colId xmlns:a16="http://schemas.microsoft.com/office/drawing/2014/main" val="3738590716"/>
                    </a:ext>
                  </a:extLst>
                </a:gridCol>
                <a:gridCol w="1684569">
                  <a:extLst>
                    <a:ext uri="{9D8B030D-6E8A-4147-A177-3AD203B41FA5}">
                      <a16:colId xmlns:a16="http://schemas.microsoft.com/office/drawing/2014/main" val="3750538898"/>
                    </a:ext>
                  </a:extLst>
                </a:gridCol>
              </a:tblGrid>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Wash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Goo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Fastness</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Goo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Mould &amp; Fungus Protection</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Best in Clas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Dur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ong lasting</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3" name="TextBox 2">
            <a:extLst>
              <a:ext uri="{FF2B5EF4-FFF2-40B4-BE49-F238E27FC236}">
                <a16:creationId xmlns:a16="http://schemas.microsoft.com/office/drawing/2014/main" id="{AFD677D1-9819-3FCB-8A3D-13672FC713BF}"/>
              </a:ext>
            </a:extLst>
          </p:cNvPr>
          <p:cNvSpPr txBox="1"/>
          <p:nvPr/>
        </p:nvSpPr>
        <p:spPr>
          <a:xfrm>
            <a:off x="7392647" y="4021040"/>
            <a:ext cx="1557726" cy="900015"/>
          </a:xfrm>
          <a:prstGeom prst="rect">
            <a:avLst/>
          </a:prstGeom>
          <a:noFill/>
        </p:spPr>
        <p:txBody>
          <a:bodyPr wrap="square" lIns="0" tIns="0" rIns="0" bIns="0" rtlCol="0">
            <a:noAutofit/>
          </a:bodyPr>
          <a:lstStyle/>
          <a:p>
            <a:r>
              <a:rPr lang="en-SG" sz="1400" b="0" dirty="0">
                <a:latin typeface="Colour Sans" panose="02000503030000020004" pitchFamily="2" charset="0"/>
              </a:rPr>
              <a:t>Other benefits:</a:t>
            </a:r>
          </a:p>
          <a:p>
            <a:pPr marL="285750" indent="-285750">
              <a:buFont typeface="Wingdings" panose="05000000000000000000" pitchFamily="2" charset="2"/>
              <a:buChar char="q"/>
            </a:pPr>
            <a:r>
              <a:rPr lang="en-SG" sz="1100" dirty="0">
                <a:latin typeface="Colour Sans" panose="02000503030000020004" pitchFamily="2" charset="0"/>
              </a:rPr>
              <a:t>Anti fungus</a:t>
            </a:r>
          </a:p>
          <a:p>
            <a:pPr marL="285750" indent="-285750">
              <a:buFont typeface="Wingdings" panose="05000000000000000000" pitchFamily="2" charset="2"/>
              <a:buChar char="q"/>
            </a:pPr>
            <a:r>
              <a:rPr lang="en-SG" sz="1100" dirty="0">
                <a:latin typeface="Colour Sans" panose="02000503030000020004" pitchFamily="2" charset="0"/>
              </a:rPr>
              <a:t>Anti Mould</a:t>
            </a:r>
          </a:p>
          <a:p>
            <a:pPr marL="285750" indent="-285750">
              <a:buFont typeface="Wingdings" panose="05000000000000000000" pitchFamily="2" charset="2"/>
              <a:buChar char="q"/>
            </a:pPr>
            <a:r>
              <a:rPr lang="en-SG" sz="1100" dirty="0">
                <a:latin typeface="Colour Sans" panose="02000503030000020004" pitchFamily="2" charset="0"/>
              </a:rPr>
              <a:t>Low odour / VOC</a:t>
            </a:r>
          </a:p>
          <a:p>
            <a:endParaRPr lang="en-SG" sz="1400" b="0" dirty="0">
              <a:latin typeface="Colour Sans" panose="02000503030000020004" pitchFamily="2" charset="0"/>
            </a:endParaRPr>
          </a:p>
        </p:txBody>
      </p:sp>
      <p:pic>
        <p:nvPicPr>
          <p:cNvPr id="13" name="Picture 12">
            <a:extLst>
              <a:ext uri="{FF2B5EF4-FFF2-40B4-BE49-F238E27FC236}">
                <a16:creationId xmlns:a16="http://schemas.microsoft.com/office/drawing/2014/main" id="{22C530A4-32AA-91A9-59C5-1B5A7C99E4A5}"/>
              </a:ext>
            </a:extLst>
          </p:cNvPr>
          <p:cNvPicPr>
            <a:picLocks noChangeAspect="1"/>
          </p:cNvPicPr>
          <p:nvPr/>
        </p:nvPicPr>
        <p:blipFill>
          <a:blip r:embed="rId2"/>
          <a:stretch>
            <a:fillRect/>
          </a:stretch>
        </p:blipFill>
        <p:spPr>
          <a:xfrm>
            <a:off x="6728201" y="2843725"/>
            <a:ext cx="568691" cy="586055"/>
          </a:xfrm>
          <a:prstGeom prst="rect">
            <a:avLst/>
          </a:prstGeom>
        </p:spPr>
      </p:pic>
      <p:pic>
        <p:nvPicPr>
          <p:cNvPr id="4" name="Picture 3">
            <a:extLst>
              <a:ext uri="{FF2B5EF4-FFF2-40B4-BE49-F238E27FC236}">
                <a16:creationId xmlns:a16="http://schemas.microsoft.com/office/drawing/2014/main" id="{FB9D417F-178D-CF17-0D10-0EFAD1681E48}"/>
              </a:ext>
            </a:extLst>
          </p:cNvPr>
          <p:cNvPicPr>
            <a:picLocks noChangeAspect="1"/>
          </p:cNvPicPr>
          <p:nvPr/>
        </p:nvPicPr>
        <p:blipFill>
          <a:blip r:embed="rId3"/>
          <a:stretch>
            <a:fillRect/>
          </a:stretch>
        </p:blipFill>
        <p:spPr>
          <a:xfrm>
            <a:off x="7296892" y="103800"/>
            <a:ext cx="1627290" cy="1802466"/>
          </a:xfrm>
          <a:prstGeom prst="rect">
            <a:avLst/>
          </a:prstGeom>
        </p:spPr>
      </p:pic>
      <p:pic>
        <p:nvPicPr>
          <p:cNvPr id="7" name="Picture 6">
            <a:extLst>
              <a:ext uri="{FF2B5EF4-FFF2-40B4-BE49-F238E27FC236}">
                <a16:creationId xmlns:a16="http://schemas.microsoft.com/office/drawing/2014/main" id="{D604A9DA-3588-EEA6-D642-C09C4C1E7DA9}"/>
              </a:ext>
            </a:extLst>
          </p:cNvPr>
          <p:cNvPicPr>
            <a:picLocks noChangeAspect="1"/>
          </p:cNvPicPr>
          <p:nvPr/>
        </p:nvPicPr>
        <p:blipFill>
          <a:blip r:embed="rId4"/>
          <a:stretch>
            <a:fillRect/>
          </a:stretch>
        </p:blipFill>
        <p:spPr>
          <a:xfrm>
            <a:off x="5202379" y="381555"/>
            <a:ext cx="1597340" cy="2134224"/>
          </a:xfrm>
          <a:prstGeom prst="rect">
            <a:avLst/>
          </a:prstGeom>
        </p:spPr>
      </p:pic>
      <p:pic>
        <p:nvPicPr>
          <p:cNvPr id="10" name="Picture 9">
            <a:extLst>
              <a:ext uri="{FF2B5EF4-FFF2-40B4-BE49-F238E27FC236}">
                <a16:creationId xmlns:a16="http://schemas.microsoft.com/office/drawing/2014/main" id="{6E7BB34D-23D2-D0B6-FF6B-ED7E392D4259}"/>
              </a:ext>
            </a:extLst>
          </p:cNvPr>
          <p:cNvPicPr>
            <a:picLocks noChangeAspect="1"/>
          </p:cNvPicPr>
          <p:nvPr/>
        </p:nvPicPr>
        <p:blipFill>
          <a:blip r:embed="rId5"/>
          <a:stretch>
            <a:fillRect/>
          </a:stretch>
        </p:blipFill>
        <p:spPr>
          <a:xfrm>
            <a:off x="5226027" y="2703794"/>
            <a:ext cx="987638" cy="786452"/>
          </a:xfrm>
          <a:prstGeom prst="rect">
            <a:avLst/>
          </a:prstGeom>
        </p:spPr>
      </p:pic>
      <p:sp>
        <p:nvSpPr>
          <p:cNvPr id="11" name="Rectangle 10">
            <a:extLst>
              <a:ext uri="{FF2B5EF4-FFF2-40B4-BE49-F238E27FC236}">
                <a16:creationId xmlns:a16="http://schemas.microsoft.com/office/drawing/2014/main" id="{4E58038D-207D-4D7A-53BE-80D59271EDEF}"/>
              </a:ext>
            </a:extLst>
          </p:cNvPr>
          <p:cNvSpPr/>
          <p:nvPr/>
        </p:nvSpPr>
        <p:spPr>
          <a:xfrm>
            <a:off x="7930055" y="1277007"/>
            <a:ext cx="378373" cy="10247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Tree>
    <p:extLst>
      <p:ext uri="{BB962C8B-B14F-4D97-AF65-F5344CB8AC3E}">
        <p14:creationId xmlns:p14="http://schemas.microsoft.com/office/powerpoint/2010/main" val="20641958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7</a:t>
            </a:fld>
            <a:endParaRPr lang="en-US" dirty="0"/>
          </a:p>
        </p:txBody>
      </p:sp>
      <p:sp>
        <p:nvSpPr>
          <p:cNvPr id="3" name="Footer Placeholder 2">
            <a:extLst>
              <a:ext uri="{FF2B5EF4-FFF2-40B4-BE49-F238E27FC236}">
                <a16:creationId xmlns:a16="http://schemas.microsoft.com/office/drawing/2014/main" id="{E2190534-3CAA-D1B7-DDC1-F5334E469BAE}"/>
              </a:ext>
            </a:extLst>
          </p:cNvPr>
          <p:cNvSpPr>
            <a:spLocks noGrp="1"/>
          </p:cNvSpPr>
          <p:nvPr>
            <p:ph type="ftr" sz="quarter" idx="11"/>
          </p:nvPr>
        </p:nvSpPr>
        <p:spPr/>
        <p:txBody>
          <a:bodyPr/>
          <a:lstStyle/>
          <a:p>
            <a:r>
              <a:rPr lang="en-US" noProof="0"/>
              <a:t>Business unit | Footer</a:t>
            </a:r>
            <a:endParaRPr lang="en-US" noProof="0" dirty="0"/>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p:txBody>
          <a:bodyPr/>
          <a:lstStyle/>
          <a:p>
            <a:r>
              <a:rPr lang="en-SG" dirty="0"/>
              <a:t>EXTERIOR WALL PAINTS</a:t>
            </a:r>
          </a:p>
        </p:txBody>
      </p:sp>
    </p:spTree>
    <p:extLst>
      <p:ext uri="{BB962C8B-B14F-4D97-AF65-F5344CB8AC3E}">
        <p14:creationId xmlns:p14="http://schemas.microsoft.com/office/powerpoint/2010/main" val="4968128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a:t>
            </a:r>
            <a:r>
              <a:rPr lang="en-SG" dirty="0" err="1">
                <a:latin typeface="Colour Sans" panose="02000503030000020004" pitchFamily="2" charset="0"/>
              </a:rPr>
              <a:t>Weathershield</a:t>
            </a:r>
            <a:r>
              <a:rPr lang="en-SG" dirty="0">
                <a:latin typeface="Colour Sans" panose="02000503030000020004" pitchFamily="2" charset="0"/>
              </a:rPr>
              <a:t> </a:t>
            </a:r>
            <a:r>
              <a:rPr lang="en-SG" dirty="0" err="1">
                <a:latin typeface="Colour Sans" panose="02000503030000020004" pitchFamily="2" charset="0"/>
              </a:rPr>
              <a:t>Powerflexx</a:t>
            </a:r>
            <a:endParaRPr lang="en-SG" dirty="0">
              <a:latin typeface="Colour Sans" panose="02000503030000020004" pitchFamily="2" charset="0"/>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nvGraphicFramePr>
        <p:xfrm>
          <a:off x="193626" y="601419"/>
          <a:ext cx="4440489" cy="3177540"/>
        </p:xfrm>
        <a:graphic>
          <a:graphicData uri="http://schemas.openxmlformats.org/drawingml/2006/table">
            <a:tbl>
              <a:tblPr firstRow="1" bandRow="1">
                <a:tableStyleId>{5940675A-B579-460E-94D1-54222C63F5DA}</a:tableStyleId>
              </a:tblPr>
              <a:tblGrid>
                <a:gridCol w="4440489">
                  <a:extLst>
                    <a:ext uri="{9D8B030D-6E8A-4147-A177-3AD203B41FA5}">
                      <a16:colId xmlns:a16="http://schemas.microsoft.com/office/drawing/2014/main" val="965239065"/>
                    </a:ext>
                  </a:extLst>
                </a:gridCol>
              </a:tblGrid>
              <a:tr h="223556">
                <a:tc>
                  <a:txBody>
                    <a:bodyPr/>
                    <a:lstStyle/>
                    <a:p>
                      <a:r>
                        <a:rPr lang="en-SG" sz="12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728077">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My house is a symbol of my success, a pristine looking house fills me with pride. But constant rain and sun causing cracks on the walls, when water seeps through these cracks, it causes further damage to the structure. I want to give my house the best possible protection.</a:t>
                      </a:r>
                      <a:endParaRPr lang="en-SG" sz="1050" b="0" dirty="0">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23556">
                <a:tc>
                  <a:txBody>
                    <a:bodyPr/>
                    <a:lstStyle/>
                    <a:p>
                      <a:r>
                        <a:rPr lang="en-SG" sz="12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681845">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Dulux </a:t>
                      </a:r>
                      <a:r>
                        <a:rPr lang="en-US" sz="1050" b="0" dirty="0" err="1">
                          <a:latin typeface="Open Sans" panose="020B0606030504020204" pitchFamily="34" charset="0"/>
                          <a:ea typeface="Open Sans" panose="020B0606030504020204" pitchFamily="34" charset="0"/>
                          <a:cs typeface="Open Sans" panose="020B0606030504020204" pitchFamily="34" charset="0"/>
                        </a:rPr>
                        <a:t>Weathershield</a:t>
                      </a:r>
                      <a:r>
                        <a:rPr lang="en-US" sz="1050" b="0" dirty="0">
                          <a:latin typeface="Open Sans" panose="020B0606030504020204" pitchFamily="34" charset="0"/>
                          <a:ea typeface="Open Sans" panose="020B0606030504020204" pitchFamily="34" charset="0"/>
                          <a:cs typeface="Open Sans" panose="020B0606030504020204" pitchFamily="34" charset="0"/>
                        </a:rPr>
                        <a:t> </a:t>
                      </a:r>
                      <a:r>
                        <a:rPr lang="en-US" sz="1050" b="0" dirty="0" err="1">
                          <a:latin typeface="Open Sans" panose="020B0606030504020204" pitchFamily="34" charset="0"/>
                          <a:ea typeface="Open Sans" panose="020B0606030504020204" pitchFamily="34" charset="0"/>
                          <a:cs typeface="Open Sans" panose="020B0606030504020204" pitchFamily="34" charset="0"/>
                        </a:rPr>
                        <a:t>Powerflexx</a:t>
                      </a:r>
                      <a:r>
                        <a:rPr lang="en-US" sz="1050" b="0" dirty="0">
                          <a:latin typeface="Open Sans" panose="020B0606030504020204" pitchFamily="34" charset="0"/>
                          <a:ea typeface="Open Sans" panose="020B0606030504020204" pitchFamily="34" charset="0"/>
                          <a:cs typeface="Open Sans" panose="020B0606030504020204" pitchFamily="34" charset="0"/>
                        </a:rPr>
                        <a:t> with its Triple </a:t>
                      </a:r>
                      <a:r>
                        <a:rPr lang="en-US" sz="1050" b="0" dirty="0" err="1">
                          <a:latin typeface="Open Sans" panose="020B0606030504020204" pitchFamily="34" charset="0"/>
                          <a:ea typeface="Open Sans" panose="020B0606030504020204" pitchFamily="34" charset="0"/>
                          <a:cs typeface="Open Sans" panose="020B0606030504020204" pitchFamily="34" charset="0"/>
                        </a:rPr>
                        <a:t>Defence</a:t>
                      </a:r>
                      <a:r>
                        <a:rPr lang="en-US" sz="1050" b="0" dirty="0">
                          <a:latin typeface="Open Sans" panose="020B0606030504020204" pitchFamily="34" charset="0"/>
                          <a:ea typeface="Open Sans" panose="020B0606030504020204" pitchFamily="34" charset="0"/>
                          <a:cs typeface="Open Sans" panose="020B0606030504020204" pitchFamily="34" charset="0"/>
                        </a:rPr>
                        <a:t> Technology, provides ultimate crack proof, water repellent and ultimate weather resistant for your home. DWS </a:t>
                      </a:r>
                      <a:r>
                        <a:rPr lang="en-US" sz="1050" b="0" dirty="0" err="1">
                          <a:latin typeface="Open Sans" panose="020B0606030504020204" pitchFamily="34" charset="0"/>
                          <a:ea typeface="Open Sans" panose="020B0606030504020204" pitchFamily="34" charset="0"/>
                          <a:cs typeface="Open Sans" panose="020B0606030504020204" pitchFamily="34" charset="0"/>
                        </a:rPr>
                        <a:t>Powerflexx</a:t>
                      </a:r>
                      <a:r>
                        <a:rPr lang="en-US" sz="1050" b="0" dirty="0">
                          <a:latin typeface="Open Sans" panose="020B0606030504020204" pitchFamily="34" charset="0"/>
                          <a:ea typeface="Open Sans" panose="020B0606030504020204" pitchFamily="34" charset="0"/>
                          <a:cs typeface="Open Sans" panose="020B0606030504020204" pitchFamily="34" charset="0"/>
                        </a:rPr>
                        <a:t> is an elastomeric paint comes with thick and tough yet highly stretchable paint film, it covers 10x wider crack than normal paints, water repellent and weather resista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23556">
                <a:tc>
                  <a:txBody>
                    <a:bodyPr/>
                    <a:lstStyle/>
                    <a:p>
                      <a:r>
                        <a:rPr lang="en-SG" sz="12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312978">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A long lasting beautiful home free from cracks, algae &amp; fungus, dirt &amp; water marks, </a:t>
                      </a:r>
                      <a:r>
                        <a:rPr lang="en-US" sz="1050" b="0" dirty="0" err="1">
                          <a:latin typeface="Open Sans" panose="020B0606030504020204" pitchFamily="34" charset="0"/>
                          <a:ea typeface="Open Sans" panose="020B0606030504020204" pitchFamily="34" charset="0"/>
                          <a:cs typeface="Open Sans" panose="020B0606030504020204" pitchFamily="34" charset="0"/>
                        </a:rPr>
                        <a:t>colour</a:t>
                      </a:r>
                      <a:r>
                        <a:rPr lang="en-US" sz="1050" b="0" dirty="0">
                          <a:latin typeface="Open Sans" panose="020B0606030504020204" pitchFamily="34" charset="0"/>
                          <a:ea typeface="Open Sans" panose="020B0606030504020204" pitchFamily="34" charset="0"/>
                          <a:cs typeface="Open Sans" panose="020B0606030504020204" pitchFamily="34" charset="0"/>
                        </a:rPr>
                        <a:t> fading, alkali and with 12 years of warrant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35951" y="3719626"/>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524750" y="1916074"/>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4L, 10L, 20L</a:t>
            </a:r>
          </a:p>
        </p:txBody>
      </p:sp>
      <p:graphicFrame>
        <p:nvGraphicFramePr>
          <p:cNvPr id="3" name="Table 2">
            <a:extLst>
              <a:ext uri="{FF2B5EF4-FFF2-40B4-BE49-F238E27FC236}">
                <a16:creationId xmlns:a16="http://schemas.microsoft.com/office/drawing/2014/main" id="{F3C27666-7664-22D5-04F1-6881AF75D24D}"/>
              </a:ext>
            </a:extLst>
          </p:cNvPr>
          <p:cNvGraphicFramePr>
            <a:graphicFrameLocks noGrp="1"/>
          </p:cNvGraphicFramePr>
          <p:nvPr/>
        </p:nvGraphicFramePr>
        <p:xfrm>
          <a:off x="193626" y="3982941"/>
          <a:ext cx="3038524" cy="907717"/>
        </p:xfrm>
        <a:graphic>
          <a:graphicData uri="http://schemas.openxmlformats.org/drawingml/2006/table">
            <a:tbl>
              <a:tblPr firstRow="1" bandRow="1">
                <a:tableStyleId>{2D5ABB26-0587-4C30-8999-92F81FD0307C}</a:tableStyleId>
              </a:tblPr>
              <a:tblGrid>
                <a:gridCol w="1404442">
                  <a:extLst>
                    <a:ext uri="{9D8B030D-6E8A-4147-A177-3AD203B41FA5}">
                      <a16:colId xmlns:a16="http://schemas.microsoft.com/office/drawing/2014/main" val="2714193207"/>
                    </a:ext>
                  </a:extLst>
                </a:gridCol>
                <a:gridCol w="1634082">
                  <a:extLst>
                    <a:ext uri="{9D8B030D-6E8A-4147-A177-3AD203B41FA5}">
                      <a16:colId xmlns:a16="http://schemas.microsoft.com/office/drawing/2014/main" val="402161752"/>
                    </a:ext>
                  </a:extLst>
                </a:gridCol>
              </a:tblGrid>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Sheen Finis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10-12 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endPar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Superior opacity</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32705">
                <a:tc>
                  <a:txBody>
                    <a:bodyPr/>
                    <a:lstStyle/>
                    <a:p>
                      <a:pPr marL="0" indent="85725" algn="just"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3258 Tinting</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6" name="Table 5">
            <a:extLst>
              <a:ext uri="{FF2B5EF4-FFF2-40B4-BE49-F238E27FC236}">
                <a16:creationId xmlns:a16="http://schemas.microsoft.com/office/drawing/2014/main" id="{23891076-E8FE-AF49-5DBF-8F6239FA4145}"/>
              </a:ext>
            </a:extLst>
          </p:cNvPr>
          <p:cNvGraphicFramePr>
            <a:graphicFrameLocks noGrp="1"/>
          </p:cNvGraphicFramePr>
          <p:nvPr/>
        </p:nvGraphicFramePr>
        <p:xfrm>
          <a:off x="3312809" y="3982939"/>
          <a:ext cx="3687298" cy="900016"/>
        </p:xfrm>
        <a:graphic>
          <a:graphicData uri="http://schemas.openxmlformats.org/drawingml/2006/table">
            <a:tbl>
              <a:tblPr firstRow="1" bandRow="1">
                <a:tableStyleId>{2D5ABB26-0587-4C30-8999-92F81FD0307C}</a:tableStyleId>
              </a:tblPr>
              <a:tblGrid>
                <a:gridCol w="1764016">
                  <a:extLst>
                    <a:ext uri="{9D8B030D-6E8A-4147-A177-3AD203B41FA5}">
                      <a16:colId xmlns:a16="http://schemas.microsoft.com/office/drawing/2014/main" val="3738590716"/>
                    </a:ext>
                  </a:extLst>
                </a:gridCol>
                <a:gridCol w="1923282">
                  <a:extLst>
                    <a:ext uri="{9D8B030D-6E8A-4147-A177-3AD203B41FA5}">
                      <a16:colId xmlns:a16="http://schemas.microsoft.com/office/drawing/2014/main" val="3750538898"/>
                    </a:ext>
                  </a:extLst>
                </a:gridCol>
              </a:tblGrid>
              <a:tr h="225004">
                <a:tc>
                  <a:txBody>
                    <a:bodyPr/>
                    <a:lstStyle/>
                    <a:p>
                      <a:pPr marL="85725" marR="0" lvl="0" indent="0"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Open Sans" panose="020B0606030504020204" pitchFamily="34" charset="0"/>
                          <a:cs typeface="Open Sans" panose="020B0606030504020204" pitchFamily="34" charset="0"/>
                        </a:rPr>
                        <a:t>Colour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High colour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225004">
                <a:tc>
                  <a:txBody>
                    <a:bodyPr/>
                    <a:lstStyle/>
                    <a:p>
                      <a:pPr marL="85725" marR="0" lvl="0" indent="0"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Open Sans" panose="020B0606030504020204" pitchFamily="34" charset="0"/>
                          <a:cs typeface="Open Sans" panose="020B0606030504020204" pitchFamily="34" charset="0"/>
                        </a:rPr>
                        <a:t>Algae &amp; Fungus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Excellent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225004">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Alkali Resistanc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Superior resistanc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Durability / Warran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12 yea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4" name="TextBox 3">
            <a:extLst>
              <a:ext uri="{FF2B5EF4-FFF2-40B4-BE49-F238E27FC236}">
                <a16:creationId xmlns:a16="http://schemas.microsoft.com/office/drawing/2014/main" id="{E09ECB9B-4496-F6BB-2EE5-30E0410D2810}"/>
              </a:ext>
            </a:extLst>
          </p:cNvPr>
          <p:cNvSpPr txBox="1"/>
          <p:nvPr/>
        </p:nvSpPr>
        <p:spPr>
          <a:xfrm>
            <a:off x="7152073" y="3982939"/>
            <a:ext cx="1898038" cy="900015"/>
          </a:xfrm>
          <a:prstGeom prst="rect">
            <a:avLst/>
          </a:prstGeom>
          <a:noFill/>
        </p:spPr>
        <p:txBody>
          <a:bodyPr wrap="square" lIns="0" tIns="0" rIns="0" bIns="0" rtlCol="0">
            <a:noAutofit/>
          </a:bodyPr>
          <a:lstStyle/>
          <a:p>
            <a:r>
              <a:rPr lang="en-SG" sz="1400" b="0" dirty="0">
                <a:latin typeface="Colour Sans" panose="02000503030000020004" pitchFamily="2" charset="0"/>
              </a:rPr>
              <a:t>Other benefits:</a:t>
            </a:r>
          </a:p>
          <a:p>
            <a:pPr marL="285750" indent="-285750">
              <a:buFont typeface="Wingdings" panose="05000000000000000000" pitchFamily="2" charset="2"/>
              <a:buChar char="q"/>
            </a:pPr>
            <a:r>
              <a:rPr lang="en-SG" sz="1100" dirty="0">
                <a:latin typeface="Colour Sans" panose="02000503030000020004" pitchFamily="2" charset="0"/>
              </a:rPr>
              <a:t>Low VOC / Low Odour</a:t>
            </a:r>
            <a:endParaRPr lang="en-SG" sz="1100" b="0" dirty="0">
              <a:latin typeface="Colour Sans" panose="02000503030000020004" pitchFamily="2" charset="0"/>
            </a:endParaRPr>
          </a:p>
          <a:p>
            <a:pPr marL="285750" indent="-285750">
              <a:buFont typeface="Wingdings" panose="05000000000000000000" pitchFamily="2" charset="2"/>
              <a:buChar char="q"/>
            </a:pPr>
            <a:r>
              <a:rPr lang="en-SG" sz="1100" dirty="0">
                <a:latin typeface="Colour Sans" panose="02000503030000020004" pitchFamily="2" charset="0"/>
              </a:rPr>
              <a:t>No Added Lead &amp; mercury</a:t>
            </a:r>
          </a:p>
          <a:p>
            <a:endParaRPr lang="en-SG" sz="1400" b="0" dirty="0">
              <a:latin typeface="Colour Sans" panose="02000503030000020004" pitchFamily="2" charset="0"/>
            </a:endParaRPr>
          </a:p>
        </p:txBody>
      </p:sp>
      <p:pic>
        <p:nvPicPr>
          <p:cNvPr id="11" name="Picture 10" descr="Logo&#10;&#10;Description automatically generated">
            <a:extLst>
              <a:ext uri="{FF2B5EF4-FFF2-40B4-BE49-F238E27FC236}">
                <a16:creationId xmlns:a16="http://schemas.microsoft.com/office/drawing/2014/main" id="{282472F7-9C9A-5798-6882-554A9CE94091}"/>
              </a:ext>
            </a:extLst>
          </p:cNvPr>
          <p:cNvPicPr>
            <a:picLocks noChangeAspect="1"/>
          </p:cNvPicPr>
          <p:nvPr/>
        </p:nvPicPr>
        <p:blipFill>
          <a:blip r:embed="rId2"/>
          <a:stretch>
            <a:fillRect/>
          </a:stretch>
        </p:blipFill>
        <p:spPr>
          <a:xfrm>
            <a:off x="4634115" y="2210858"/>
            <a:ext cx="1367426" cy="1595330"/>
          </a:xfrm>
          <a:prstGeom prst="rect">
            <a:avLst/>
          </a:prstGeom>
        </p:spPr>
      </p:pic>
      <p:pic>
        <p:nvPicPr>
          <p:cNvPr id="13" name="Picture 12" descr="Logo&#10;&#10;Description automatically generated">
            <a:extLst>
              <a:ext uri="{FF2B5EF4-FFF2-40B4-BE49-F238E27FC236}">
                <a16:creationId xmlns:a16="http://schemas.microsoft.com/office/drawing/2014/main" id="{CF3B684C-F080-33FA-3A32-6DECCCB705B8}"/>
              </a:ext>
            </a:extLst>
          </p:cNvPr>
          <p:cNvPicPr>
            <a:picLocks noChangeAspect="1"/>
          </p:cNvPicPr>
          <p:nvPr/>
        </p:nvPicPr>
        <p:blipFill>
          <a:blip r:embed="rId3"/>
          <a:stretch>
            <a:fillRect/>
          </a:stretch>
        </p:blipFill>
        <p:spPr>
          <a:xfrm>
            <a:off x="6284617" y="3012612"/>
            <a:ext cx="1176314" cy="1010293"/>
          </a:xfrm>
          <a:prstGeom prst="rect">
            <a:avLst/>
          </a:prstGeom>
        </p:spPr>
      </p:pic>
      <p:pic>
        <p:nvPicPr>
          <p:cNvPr id="19" name="Picture 18" descr="Logo&#10;&#10;Description automatically generated">
            <a:extLst>
              <a:ext uri="{FF2B5EF4-FFF2-40B4-BE49-F238E27FC236}">
                <a16:creationId xmlns:a16="http://schemas.microsoft.com/office/drawing/2014/main" id="{0F999351-507D-7D0D-CDAA-501551D33EA5}"/>
              </a:ext>
            </a:extLst>
          </p:cNvPr>
          <p:cNvPicPr>
            <a:picLocks noChangeAspect="1"/>
          </p:cNvPicPr>
          <p:nvPr/>
        </p:nvPicPr>
        <p:blipFill>
          <a:blip r:embed="rId4"/>
          <a:stretch>
            <a:fillRect/>
          </a:stretch>
        </p:blipFill>
        <p:spPr>
          <a:xfrm>
            <a:off x="8205651" y="2465445"/>
            <a:ext cx="895170" cy="782393"/>
          </a:xfrm>
          <a:prstGeom prst="rect">
            <a:avLst/>
          </a:prstGeom>
        </p:spPr>
      </p:pic>
      <p:pic>
        <p:nvPicPr>
          <p:cNvPr id="7" name="Picture Placeholder 11">
            <a:extLst>
              <a:ext uri="{FF2B5EF4-FFF2-40B4-BE49-F238E27FC236}">
                <a16:creationId xmlns:a16="http://schemas.microsoft.com/office/drawing/2014/main" id="{8600B0FE-82D8-AC4C-8D06-C444FD26FCD4}"/>
              </a:ext>
            </a:extLst>
          </p:cNvPr>
          <p:cNvPicPr>
            <a:picLocks noChangeAspect="1"/>
          </p:cNvPicPr>
          <p:nvPr/>
        </p:nvPicPr>
        <p:blipFill rotWithShape="1">
          <a:blip r:embed="rId5"/>
          <a:srcRect l="4315" t="14935" r="77378" b="21945"/>
          <a:stretch/>
        </p:blipFill>
        <p:spPr>
          <a:xfrm>
            <a:off x="5904186" y="2386359"/>
            <a:ext cx="512069" cy="477715"/>
          </a:xfrm>
          <a:prstGeom prst="rect">
            <a:avLst/>
          </a:prstGeom>
        </p:spPr>
      </p:pic>
      <p:pic>
        <p:nvPicPr>
          <p:cNvPr id="10" name="Picture Placeholder 11">
            <a:extLst>
              <a:ext uri="{FF2B5EF4-FFF2-40B4-BE49-F238E27FC236}">
                <a16:creationId xmlns:a16="http://schemas.microsoft.com/office/drawing/2014/main" id="{D58422D2-74BD-4470-84F2-D41118DABC9C}"/>
              </a:ext>
            </a:extLst>
          </p:cNvPr>
          <p:cNvPicPr>
            <a:picLocks noChangeAspect="1"/>
          </p:cNvPicPr>
          <p:nvPr/>
        </p:nvPicPr>
        <p:blipFill rotWithShape="1">
          <a:blip r:embed="rId5"/>
          <a:srcRect l="41390" t="18211" r="43072" b="24904"/>
          <a:stretch/>
        </p:blipFill>
        <p:spPr bwMode="gray">
          <a:xfrm>
            <a:off x="6834216" y="2417846"/>
            <a:ext cx="418679" cy="414739"/>
          </a:xfrm>
          <a:prstGeom prst="rect">
            <a:avLst/>
          </a:prstGeom>
          <a:noFill/>
        </p:spPr>
      </p:pic>
      <p:pic>
        <p:nvPicPr>
          <p:cNvPr id="12" name="Picture Placeholder 11">
            <a:extLst>
              <a:ext uri="{FF2B5EF4-FFF2-40B4-BE49-F238E27FC236}">
                <a16:creationId xmlns:a16="http://schemas.microsoft.com/office/drawing/2014/main" id="{6E7A6AF4-5163-CD9B-17EC-4921D5364DE8}"/>
              </a:ext>
            </a:extLst>
          </p:cNvPr>
          <p:cNvPicPr>
            <a:picLocks noChangeAspect="1"/>
          </p:cNvPicPr>
          <p:nvPr/>
        </p:nvPicPr>
        <p:blipFill rotWithShape="1">
          <a:blip r:embed="rId5"/>
          <a:srcRect l="78603" t="14931" r="4234" b="26844"/>
          <a:stretch/>
        </p:blipFill>
        <p:spPr bwMode="gray">
          <a:xfrm>
            <a:off x="7569964" y="2386359"/>
            <a:ext cx="480179" cy="440752"/>
          </a:xfrm>
          <a:prstGeom prst="rect">
            <a:avLst/>
          </a:prstGeom>
          <a:noFill/>
        </p:spPr>
      </p:pic>
      <p:sp>
        <p:nvSpPr>
          <p:cNvPr id="14" name="TextBox 13">
            <a:extLst>
              <a:ext uri="{FF2B5EF4-FFF2-40B4-BE49-F238E27FC236}">
                <a16:creationId xmlns:a16="http://schemas.microsoft.com/office/drawing/2014/main" id="{7C2C47B5-7FB8-A821-0C04-948DD044496D}"/>
              </a:ext>
            </a:extLst>
          </p:cNvPr>
          <p:cNvSpPr txBox="1"/>
          <p:nvPr/>
        </p:nvSpPr>
        <p:spPr>
          <a:xfrm>
            <a:off x="5703020" y="2874769"/>
            <a:ext cx="914400" cy="914400"/>
          </a:xfrm>
          <a:prstGeom prst="rect">
            <a:avLst/>
          </a:prstGeom>
          <a:noFill/>
        </p:spPr>
        <p:txBody>
          <a:bodyPr wrap="none" lIns="0" tIns="0" rIns="0" bIns="0" rtlCol="0">
            <a:noAutofit/>
          </a:bodyPr>
          <a:lstStyle/>
          <a:p>
            <a:pPr algn="ctr"/>
            <a:r>
              <a:rPr lang="en-US" sz="700" b="0" dirty="0"/>
              <a:t>Superior </a:t>
            </a:r>
          </a:p>
          <a:p>
            <a:pPr algn="ctr"/>
            <a:r>
              <a:rPr lang="en-US" sz="700" b="0" dirty="0" err="1"/>
              <a:t>CrackBridging</a:t>
            </a:r>
            <a:endParaRPr lang="en-US" sz="700" b="0" dirty="0"/>
          </a:p>
        </p:txBody>
      </p:sp>
      <p:sp>
        <p:nvSpPr>
          <p:cNvPr id="15" name="TextBox 14">
            <a:extLst>
              <a:ext uri="{FF2B5EF4-FFF2-40B4-BE49-F238E27FC236}">
                <a16:creationId xmlns:a16="http://schemas.microsoft.com/office/drawing/2014/main" id="{3F06675B-0AC5-27D6-B9B4-94594D47FD85}"/>
              </a:ext>
            </a:extLst>
          </p:cNvPr>
          <p:cNvSpPr txBox="1"/>
          <p:nvPr/>
        </p:nvSpPr>
        <p:spPr>
          <a:xfrm>
            <a:off x="6604182" y="2885464"/>
            <a:ext cx="914400" cy="914400"/>
          </a:xfrm>
          <a:prstGeom prst="rect">
            <a:avLst/>
          </a:prstGeom>
          <a:noFill/>
        </p:spPr>
        <p:txBody>
          <a:bodyPr wrap="none" lIns="0" tIns="0" rIns="0" bIns="0" rtlCol="0">
            <a:noAutofit/>
          </a:bodyPr>
          <a:lstStyle/>
          <a:p>
            <a:pPr algn="ctr"/>
            <a:r>
              <a:rPr lang="en-US" sz="700" b="0" dirty="0"/>
              <a:t>Superior </a:t>
            </a:r>
          </a:p>
          <a:p>
            <a:pPr algn="ctr"/>
            <a:r>
              <a:rPr lang="en-US" sz="700" b="0" dirty="0"/>
              <a:t>Weather Resistance</a:t>
            </a:r>
          </a:p>
        </p:txBody>
      </p:sp>
      <p:sp>
        <p:nvSpPr>
          <p:cNvPr id="16" name="TextBox 15">
            <a:extLst>
              <a:ext uri="{FF2B5EF4-FFF2-40B4-BE49-F238E27FC236}">
                <a16:creationId xmlns:a16="http://schemas.microsoft.com/office/drawing/2014/main" id="{C7DB699A-FC74-8403-9394-3F0051151B8E}"/>
              </a:ext>
            </a:extLst>
          </p:cNvPr>
          <p:cNvSpPr txBox="1"/>
          <p:nvPr/>
        </p:nvSpPr>
        <p:spPr>
          <a:xfrm>
            <a:off x="7460931" y="2874769"/>
            <a:ext cx="914400" cy="914400"/>
          </a:xfrm>
          <a:prstGeom prst="rect">
            <a:avLst/>
          </a:prstGeom>
          <a:noFill/>
        </p:spPr>
        <p:txBody>
          <a:bodyPr wrap="none" lIns="0" tIns="0" rIns="0" bIns="0" rtlCol="0">
            <a:noAutofit/>
          </a:bodyPr>
          <a:lstStyle/>
          <a:p>
            <a:pPr algn="ctr"/>
            <a:r>
              <a:rPr lang="en-US" sz="700" b="0" dirty="0"/>
              <a:t>Superior </a:t>
            </a:r>
          </a:p>
          <a:p>
            <a:pPr algn="ctr"/>
            <a:r>
              <a:rPr lang="en-US" sz="700" b="0" dirty="0"/>
              <a:t>Water Resistance</a:t>
            </a:r>
          </a:p>
        </p:txBody>
      </p:sp>
      <p:pic>
        <p:nvPicPr>
          <p:cNvPr id="22" name="Picture Placeholder 6" descr="A picture containing text, container, can&#10;&#10;Description automatically generated">
            <a:extLst>
              <a:ext uri="{FF2B5EF4-FFF2-40B4-BE49-F238E27FC236}">
                <a16:creationId xmlns:a16="http://schemas.microsoft.com/office/drawing/2014/main" id="{E298189E-5582-8CD8-1891-4989B773EF09}"/>
              </a:ext>
            </a:extLst>
          </p:cNvPr>
          <p:cNvPicPr>
            <a:picLocks noChangeAspect="1"/>
          </p:cNvPicPr>
          <p:nvPr/>
        </p:nvPicPr>
        <p:blipFill rotWithShape="1">
          <a:blip r:embed="rId6"/>
          <a:srcRect t="-1755" b="-3118"/>
          <a:stretch/>
        </p:blipFill>
        <p:spPr>
          <a:xfrm>
            <a:off x="7629178" y="644936"/>
            <a:ext cx="962718" cy="1136610"/>
          </a:xfrm>
          <a:prstGeom prst="rect">
            <a:avLst/>
          </a:prstGeom>
        </p:spPr>
      </p:pic>
      <p:pic>
        <p:nvPicPr>
          <p:cNvPr id="24" name="Picture 23" descr="A person standing next to a house&#10;&#10;Description automatically generated">
            <a:extLst>
              <a:ext uri="{FF2B5EF4-FFF2-40B4-BE49-F238E27FC236}">
                <a16:creationId xmlns:a16="http://schemas.microsoft.com/office/drawing/2014/main" id="{9518B812-757F-E7EC-A507-B1219F2143FA}"/>
              </a:ext>
            </a:extLst>
          </p:cNvPr>
          <p:cNvPicPr>
            <a:picLocks noChangeAspect="1"/>
          </p:cNvPicPr>
          <p:nvPr/>
        </p:nvPicPr>
        <p:blipFill>
          <a:blip r:embed="rId7"/>
          <a:stretch>
            <a:fillRect/>
          </a:stretch>
        </p:blipFill>
        <p:spPr>
          <a:xfrm>
            <a:off x="5007065" y="711931"/>
            <a:ext cx="2145008" cy="1430005"/>
          </a:xfrm>
          <a:prstGeom prst="rect">
            <a:avLst/>
          </a:prstGeom>
        </p:spPr>
      </p:pic>
    </p:spTree>
    <p:extLst>
      <p:ext uri="{BB962C8B-B14F-4D97-AF65-F5344CB8AC3E}">
        <p14:creationId xmlns:p14="http://schemas.microsoft.com/office/powerpoint/2010/main" val="24193904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a:t>
            </a:r>
            <a:r>
              <a:rPr lang="en-SG" dirty="0" err="1">
                <a:latin typeface="Colour Sans" panose="02000503030000020004" pitchFamily="2" charset="0"/>
              </a:rPr>
              <a:t>Weathershield</a:t>
            </a:r>
            <a:r>
              <a:rPr lang="en-SG" dirty="0">
                <a:latin typeface="Colour Sans" panose="02000503030000020004" pitchFamily="2" charset="0"/>
              </a:rPr>
              <a:t> Max</a:t>
            </a: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nvGraphicFramePr>
        <p:xfrm>
          <a:off x="193626" y="601419"/>
          <a:ext cx="4440489" cy="3017520"/>
        </p:xfrm>
        <a:graphic>
          <a:graphicData uri="http://schemas.openxmlformats.org/drawingml/2006/table">
            <a:tbl>
              <a:tblPr firstRow="1" bandRow="1">
                <a:tableStyleId>{5940675A-B579-460E-94D1-54222C63F5DA}</a:tableStyleId>
              </a:tblPr>
              <a:tblGrid>
                <a:gridCol w="4440489">
                  <a:extLst>
                    <a:ext uri="{9D8B030D-6E8A-4147-A177-3AD203B41FA5}">
                      <a16:colId xmlns:a16="http://schemas.microsoft.com/office/drawing/2014/main" val="965239065"/>
                    </a:ext>
                  </a:extLst>
                </a:gridCol>
              </a:tblGrid>
              <a:tr h="223556">
                <a:tc>
                  <a:txBody>
                    <a:bodyPr/>
                    <a:lstStyle/>
                    <a:p>
                      <a:r>
                        <a:rPr lang="en-SG" sz="12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728077">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My house is a symbol of my success, a pristine looking house fills me with pride. But constant rain and sun causing cracks on the walls, when water seeps through these cracks, it causes further damage to the structure. I want to give my house the best possible protection.</a:t>
                      </a:r>
                      <a:endParaRPr lang="en-SG" sz="1050" b="0" dirty="0">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23556">
                <a:tc>
                  <a:txBody>
                    <a:bodyPr/>
                    <a:lstStyle/>
                    <a:p>
                      <a:r>
                        <a:rPr lang="en-SG" sz="12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681845">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Dulux </a:t>
                      </a:r>
                      <a:r>
                        <a:rPr lang="en-US" sz="1050" b="0" dirty="0" err="1">
                          <a:latin typeface="Open Sans" panose="020B0606030504020204" pitchFamily="34" charset="0"/>
                          <a:ea typeface="Open Sans" panose="020B0606030504020204" pitchFamily="34" charset="0"/>
                          <a:cs typeface="Open Sans" panose="020B0606030504020204" pitchFamily="34" charset="0"/>
                        </a:rPr>
                        <a:t>Weathershield</a:t>
                      </a:r>
                      <a:r>
                        <a:rPr lang="en-US" sz="1050" b="0" dirty="0">
                          <a:latin typeface="Open Sans" panose="020B0606030504020204" pitchFamily="34" charset="0"/>
                          <a:ea typeface="Open Sans" panose="020B0606030504020204" pitchFamily="34" charset="0"/>
                          <a:cs typeface="Open Sans" panose="020B0606030504020204" pitchFamily="34" charset="0"/>
                        </a:rPr>
                        <a:t> MAX with its PU Technology, provides ultimate crack bridging </a:t>
                      </a:r>
                      <a:r>
                        <a:rPr lang="en-US" sz="1050" b="0" dirty="0" err="1">
                          <a:latin typeface="Open Sans" panose="020B0606030504020204" pitchFamily="34" charset="0"/>
                          <a:ea typeface="Open Sans" panose="020B0606030504020204" pitchFamily="34" charset="0"/>
                          <a:cs typeface="Open Sans" panose="020B0606030504020204" pitchFamily="34" charset="0"/>
                        </a:rPr>
                        <a:t>abiligy</a:t>
                      </a:r>
                      <a:r>
                        <a:rPr lang="en-US" sz="1050" b="0" dirty="0">
                          <a:latin typeface="Open Sans" panose="020B0606030504020204" pitchFamily="34" charset="0"/>
                          <a:ea typeface="Open Sans" panose="020B0606030504020204" pitchFamily="34" charset="0"/>
                          <a:cs typeface="Open Sans" panose="020B0606030504020204" pitchFamily="34" charset="0"/>
                        </a:rPr>
                        <a:t> of </a:t>
                      </a:r>
                      <a:r>
                        <a:rPr lang="en-US" sz="1050" b="0" dirty="0" err="1">
                          <a:latin typeface="Open Sans" panose="020B0606030504020204" pitchFamily="34" charset="0"/>
                          <a:ea typeface="Open Sans" panose="020B0606030504020204" pitchFamily="34" charset="0"/>
                          <a:cs typeface="Open Sans" panose="020B0606030504020204" pitchFamily="34" charset="0"/>
                        </a:rPr>
                        <a:t>upto</a:t>
                      </a:r>
                      <a:r>
                        <a:rPr lang="en-US" sz="1050" b="0" dirty="0">
                          <a:latin typeface="Open Sans" panose="020B0606030504020204" pitchFamily="34" charset="0"/>
                          <a:ea typeface="Open Sans" panose="020B0606030504020204" pitchFamily="34" charset="0"/>
                          <a:cs typeface="Open Sans" panose="020B0606030504020204" pitchFamily="34" charset="0"/>
                        </a:rPr>
                        <a:t> 0.5mm , Anti Advanced Alkali Guard, water repellent and ultimate weather resistant for your home. DWS MAX is an elastomeric paint comes PU technology which provides tough film with better adhesion, sheen and better DPU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23556">
                <a:tc>
                  <a:txBody>
                    <a:bodyPr/>
                    <a:lstStyle/>
                    <a:p>
                      <a:r>
                        <a:rPr lang="en-SG" sz="12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312978">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A long lasting beautiful home free from cracks, algae &amp; fungus, dirt &amp; water marks, </a:t>
                      </a:r>
                      <a:r>
                        <a:rPr lang="en-US" sz="1050" b="0" dirty="0" err="1">
                          <a:latin typeface="Open Sans" panose="020B0606030504020204" pitchFamily="34" charset="0"/>
                          <a:ea typeface="Open Sans" panose="020B0606030504020204" pitchFamily="34" charset="0"/>
                          <a:cs typeface="Open Sans" panose="020B0606030504020204" pitchFamily="34" charset="0"/>
                        </a:rPr>
                        <a:t>colour</a:t>
                      </a:r>
                      <a:r>
                        <a:rPr lang="en-US" sz="1050" b="0" dirty="0">
                          <a:latin typeface="Open Sans" panose="020B0606030504020204" pitchFamily="34" charset="0"/>
                          <a:ea typeface="Open Sans" panose="020B0606030504020204" pitchFamily="34" charset="0"/>
                          <a:cs typeface="Open Sans" panose="020B0606030504020204" pitchFamily="34" charset="0"/>
                        </a:rPr>
                        <a:t> fading, alkali and with 9 years warranty.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35951" y="3719626"/>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524750" y="1916074"/>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4L, 10L, 20L</a:t>
            </a:r>
          </a:p>
        </p:txBody>
      </p:sp>
      <p:graphicFrame>
        <p:nvGraphicFramePr>
          <p:cNvPr id="3" name="Table 2">
            <a:extLst>
              <a:ext uri="{FF2B5EF4-FFF2-40B4-BE49-F238E27FC236}">
                <a16:creationId xmlns:a16="http://schemas.microsoft.com/office/drawing/2014/main" id="{F3C27666-7664-22D5-04F1-6881AF75D24D}"/>
              </a:ext>
            </a:extLst>
          </p:cNvPr>
          <p:cNvGraphicFramePr>
            <a:graphicFrameLocks noGrp="1"/>
          </p:cNvGraphicFramePr>
          <p:nvPr/>
        </p:nvGraphicFramePr>
        <p:xfrm>
          <a:off x="193626" y="3982941"/>
          <a:ext cx="3038524" cy="907717"/>
        </p:xfrm>
        <a:graphic>
          <a:graphicData uri="http://schemas.openxmlformats.org/drawingml/2006/table">
            <a:tbl>
              <a:tblPr firstRow="1" bandRow="1">
                <a:tableStyleId>{2D5ABB26-0587-4C30-8999-92F81FD0307C}</a:tableStyleId>
              </a:tblPr>
              <a:tblGrid>
                <a:gridCol w="1404442">
                  <a:extLst>
                    <a:ext uri="{9D8B030D-6E8A-4147-A177-3AD203B41FA5}">
                      <a16:colId xmlns:a16="http://schemas.microsoft.com/office/drawing/2014/main" val="2714193207"/>
                    </a:ext>
                  </a:extLst>
                </a:gridCol>
                <a:gridCol w="1634082">
                  <a:extLst>
                    <a:ext uri="{9D8B030D-6E8A-4147-A177-3AD203B41FA5}">
                      <a16:colId xmlns:a16="http://schemas.microsoft.com/office/drawing/2014/main" val="402161752"/>
                    </a:ext>
                  </a:extLst>
                </a:gridCol>
              </a:tblGrid>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Sheen Finish</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10-12 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endPar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Superior opacity</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32705">
                <a:tc>
                  <a:txBody>
                    <a:bodyPr/>
                    <a:lstStyle/>
                    <a:p>
                      <a:pPr marL="0" indent="85725" algn="just"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3258 Tinting</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6" name="Table 5">
            <a:extLst>
              <a:ext uri="{FF2B5EF4-FFF2-40B4-BE49-F238E27FC236}">
                <a16:creationId xmlns:a16="http://schemas.microsoft.com/office/drawing/2014/main" id="{23891076-E8FE-AF49-5DBF-8F6239FA4145}"/>
              </a:ext>
            </a:extLst>
          </p:cNvPr>
          <p:cNvGraphicFramePr>
            <a:graphicFrameLocks noGrp="1"/>
          </p:cNvGraphicFramePr>
          <p:nvPr/>
        </p:nvGraphicFramePr>
        <p:xfrm>
          <a:off x="3312809" y="3982939"/>
          <a:ext cx="3687298" cy="900016"/>
        </p:xfrm>
        <a:graphic>
          <a:graphicData uri="http://schemas.openxmlformats.org/drawingml/2006/table">
            <a:tbl>
              <a:tblPr firstRow="1" bandRow="1">
                <a:tableStyleId>{2D5ABB26-0587-4C30-8999-92F81FD0307C}</a:tableStyleId>
              </a:tblPr>
              <a:tblGrid>
                <a:gridCol w="1764016">
                  <a:extLst>
                    <a:ext uri="{9D8B030D-6E8A-4147-A177-3AD203B41FA5}">
                      <a16:colId xmlns:a16="http://schemas.microsoft.com/office/drawing/2014/main" val="3738590716"/>
                    </a:ext>
                  </a:extLst>
                </a:gridCol>
                <a:gridCol w="1923282">
                  <a:extLst>
                    <a:ext uri="{9D8B030D-6E8A-4147-A177-3AD203B41FA5}">
                      <a16:colId xmlns:a16="http://schemas.microsoft.com/office/drawing/2014/main" val="3750538898"/>
                    </a:ext>
                  </a:extLst>
                </a:gridCol>
              </a:tblGrid>
              <a:tr h="225004">
                <a:tc>
                  <a:txBody>
                    <a:bodyPr/>
                    <a:lstStyle/>
                    <a:p>
                      <a:pPr marL="85725" marR="0" lvl="0" indent="0"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Open Sans" panose="020B0606030504020204" pitchFamily="34" charset="0"/>
                          <a:cs typeface="Open Sans" panose="020B0606030504020204" pitchFamily="34" charset="0"/>
                        </a:rPr>
                        <a:t>Colour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High colour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225004">
                <a:tc>
                  <a:txBody>
                    <a:bodyPr/>
                    <a:lstStyle/>
                    <a:p>
                      <a:pPr marL="85725" marR="0" lvl="0" indent="0"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Open Sans" panose="020B0606030504020204" pitchFamily="34" charset="0"/>
                          <a:cs typeface="Open Sans" panose="020B0606030504020204" pitchFamily="34" charset="0"/>
                        </a:rPr>
                        <a:t>Algae &amp; Fungus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Excellent protectio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225004">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Alkali Resistanc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Superior resistanc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Durability / Warran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9 yea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4" name="TextBox 3">
            <a:extLst>
              <a:ext uri="{FF2B5EF4-FFF2-40B4-BE49-F238E27FC236}">
                <a16:creationId xmlns:a16="http://schemas.microsoft.com/office/drawing/2014/main" id="{E09ECB9B-4496-F6BB-2EE5-30E0410D2810}"/>
              </a:ext>
            </a:extLst>
          </p:cNvPr>
          <p:cNvSpPr txBox="1"/>
          <p:nvPr/>
        </p:nvSpPr>
        <p:spPr>
          <a:xfrm>
            <a:off x="7152073" y="3982939"/>
            <a:ext cx="1898038" cy="900015"/>
          </a:xfrm>
          <a:prstGeom prst="rect">
            <a:avLst/>
          </a:prstGeom>
          <a:noFill/>
        </p:spPr>
        <p:txBody>
          <a:bodyPr wrap="square" lIns="0" tIns="0" rIns="0" bIns="0" rtlCol="0">
            <a:noAutofit/>
          </a:bodyPr>
          <a:lstStyle/>
          <a:p>
            <a:r>
              <a:rPr lang="en-SG" sz="1400" b="0" dirty="0">
                <a:latin typeface="Colour Sans" panose="02000503030000020004" pitchFamily="2" charset="0"/>
              </a:rPr>
              <a:t>Other benefits:</a:t>
            </a:r>
          </a:p>
          <a:p>
            <a:pPr marL="285750" indent="-285750">
              <a:buFont typeface="Wingdings" panose="05000000000000000000" pitchFamily="2" charset="2"/>
              <a:buChar char="q"/>
            </a:pPr>
            <a:r>
              <a:rPr lang="en-SG" sz="1100" dirty="0">
                <a:latin typeface="Colour Sans" panose="02000503030000020004" pitchFamily="2" charset="0"/>
              </a:rPr>
              <a:t>Low VOC / Low Odour</a:t>
            </a:r>
            <a:endParaRPr lang="en-SG" sz="1100" b="0" dirty="0">
              <a:latin typeface="Colour Sans" panose="02000503030000020004" pitchFamily="2" charset="0"/>
            </a:endParaRPr>
          </a:p>
          <a:p>
            <a:pPr marL="285750" indent="-285750">
              <a:buFont typeface="Wingdings" panose="05000000000000000000" pitchFamily="2" charset="2"/>
              <a:buChar char="q"/>
            </a:pPr>
            <a:r>
              <a:rPr lang="en-SG" sz="1100" dirty="0">
                <a:latin typeface="Colour Sans" panose="02000503030000020004" pitchFamily="2" charset="0"/>
              </a:rPr>
              <a:t>No Added Lead &amp; mercury</a:t>
            </a:r>
          </a:p>
          <a:p>
            <a:endParaRPr lang="en-SG" sz="1400" b="0" dirty="0">
              <a:latin typeface="Colour Sans" panose="02000503030000020004" pitchFamily="2" charset="0"/>
            </a:endParaRPr>
          </a:p>
        </p:txBody>
      </p:sp>
      <p:pic>
        <p:nvPicPr>
          <p:cNvPr id="13" name="Picture 12" descr="Logo&#10;&#10;Description automatically generated">
            <a:extLst>
              <a:ext uri="{FF2B5EF4-FFF2-40B4-BE49-F238E27FC236}">
                <a16:creationId xmlns:a16="http://schemas.microsoft.com/office/drawing/2014/main" id="{CF3B684C-F080-33FA-3A32-6DECCCB705B8}"/>
              </a:ext>
            </a:extLst>
          </p:cNvPr>
          <p:cNvPicPr>
            <a:picLocks noChangeAspect="1"/>
          </p:cNvPicPr>
          <p:nvPr/>
        </p:nvPicPr>
        <p:blipFill>
          <a:blip r:embed="rId2"/>
          <a:stretch>
            <a:fillRect/>
          </a:stretch>
        </p:blipFill>
        <p:spPr>
          <a:xfrm>
            <a:off x="6176976" y="2960827"/>
            <a:ext cx="1176314" cy="1010293"/>
          </a:xfrm>
          <a:prstGeom prst="rect">
            <a:avLst/>
          </a:prstGeom>
        </p:spPr>
      </p:pic>
      <p:pic>
        <p:nvPicPr>
          <p:cNvPr id="7" name="Picture 6" descr="Max Pack 2022.png">
            <a:extLst>
              <a:ext uri="{FF2B5EF4-FFF2-40B4-BE49-F238E27FC236}">
                <a16:creationId xmlns:a16="http://schemas.microsoft.com/office/drawing/2014/main" id="{D94A17C1-8100-7319-F90D-74EAAB7828EE}"/>
              </a:ext>
            </a:extLst>
          </p:cNvPr>
          <p:cNvPicPr>
            <a:picLocks noChangeAspect="1"/>
          </p:cNvPicPr>
          <p:nvPr/>
        </p:nvPicPr>
        <p:blipFill>
          <a:blip r:embed="rId3" cstate="print"/>
          <a:srcRect b="11644"/>
          <a:stretch>
            <a:fillRect/>
          </a:stretch>
        </p:blipFill>
        <p:spPr>
          <a:xfrm>
            <a:off x="7449308" y="458258"/>
            <a:ext cx="1171575" cy="1399745"/>
          </a:xfrm>
          <a:prstGeom prst="rect">
            <a:avLst/>
          </a:prstGeom>
          <a:noFill/>
          <a:ln>
            <a:noFill/>
          </a:ln>
        </p:spPr>
      </p:pic>
      <p:pic>
        <p:nvPicPr>
          <p:cNvPr id="10" name="Picture 9" descr="Diagram&#10;&#10;Description automatically generated">
            <a:extLst>
              <a:ext uri="{FF2B5EF4-FFF2-40B4-BE49-F238E27FC236}">
                <a16:creationId xmlns:a16="http://schemas.microsoft.com/office/drawing/2014/main" id="{19DC4657-464F-7498-1BE7-B4691DAAB469}"/>
              </a:ext>
            </a:extLst>
          </p:cNvPr>
          <p:cNvPicPr>
            <a:picLocks noChangeAspect="1"/>
          </p:cNvPicPr>
          <p:nvPr/>
        </p:nvPicPr>
        <p:blipFill rotWithShape="1">
          <a:blip r:embed="rId4" cstate="print"/>
          <a:srcRect l="5174" t="3497" r="4122" b="3825"/>
          <a:stretch/>
        </p:blipFill>
        <p:spPr>
          <a:xfrm>
            <a:off x="5476851" y="437509"/>
            <a:ext cx="1243432" cy="1756877"/>
          </a:xfrm>
          <a:prstGeom prst="rect">
            <a:avLst/>
          </a:prstGeom>
        </p:spPr>
      </p:pic>
      <p:pic>
        <p:nvPicPr>
          <p:cNvPr id="14" name="Picture 13" descr="A picture containing logo&#10;&#10;Description automatically generated">
            <a:extLst>
              <a:ext uri="{FF2B5EF4-FFF2-40B4-BE49-F238E27FC236}">
                <a16:creationId xmlns:a16="http://schemas.microsoft.com/office/drawing/2014/main" id="{E23C9BC4-D650-BCCC-2B17-6DE4301EDFE7}"/>
              </a:ext>
            </a:extLst>
          </p:cNvPr>
          <p:cNvPicPr>
            <a:picLocks noChangeAspect="1"/>
          </p:cNvPicPr>
          <p:nvPr/>
        </p:nvPicPr>
        <p:blipFill>
          <a:blip r:embed="rId5"/>
          <a:stretch>
            <a:fillRect/>
          </a:stretch>
        </p:blipFill>
        <p:spPr>
          <a:xfrm>
            <a:off x="5990896" y="2583730"/>
            <a:ext cx="684227" cy="665386"/>
          </a:xfrm>
          <a:prstGeom prst="rect">
            <a:avLst/>
          </a:prstGeom>
          <a:noFill/>
          <a:ln>
            <a:noFill/>
          </a:ln>
        </p:spPr>
      </p:pic>
      <p:pic>
        <p:nvPicPr>
          <p:cNvPr id="15" name="Picture 14" descr="A picture containing logo&#10;&#10;Description automatically generated">
            <a:extLst>
              <a:ext uri="{FF2B5EF4-FFF2-40B4-BE49-F238E27FC236}">
                <a16:creationId xmlns:a16="http://schemas.microsoft.com/office/drawing/2014/main" id="{0DB24E02-186C-EAEF-05FB-F2671018BABB}"/>
              </a:ext>
            </a:extLst>
          </p:cNvPr>
          <p:cNvPicPr>
            <a:picLocks noChangeAspect="1"/>
          </p:cNvPicPr>
          <p:nvPr/>
        </p:nvPicPr>
        <p:blipFill>
          <a:blip r:embed="rId6"/>
          <a:stretch>
            <a:fillRect/>
          </a:stretch>
        </p:blipFill>
        <p:spPr>
          <a:xfrm>
            <a:off x="6720283" y="2571750"/>
            <a:ext cx="688194" cy="656462"/>
          </a:xfrm>
          <a:prstGeom prst="rect">
            <a:avLst/>
          </a:prstGeom>
          <a:noFill/>
          <a:ln>
            <a:noFill/>
          </a:ln>
        </p:spPr>
      </p:pic>
      <p:pic>
        <p:nvPicPr>
          <p:cNvPr id="16" name="Picture 15" descr="Logo, icon&#10;&#10;Description automatically generated">
            <a:extLst>
              <a:ext uri="{FF2B5EF4-FFF2-40B4-BE49-F238E27FC236}">
                <a16:creationId xmlns:a16="http://schemas.microsoft.com/office/drawing/2014/main" id="{2CADDFFC-0435-3913-E464-475119304AC7}"/>
              </a:ext>
            </a:extLst>
          </p:cNvPr>
          <p:cNvPicPr>
            <a:picLocks noChangeAspect="1"/>
          </p:cNvPicPr>
          <p:nvPr/>
        </p:nvPicPr>
        <p:blipFill>
          <a:blip r:embed="rId7"/>
          <a:stretch>
            <a:fillRect/>
          </a:stretch>
        </p:blipFill>
        <p:spPr>
          <a:xfrm>
            <a:off x="8110537" y="2381666"/>
            <a:ext cx="892394" cy="890610"/>
          </a:xfrm>
          <a:prstGeom prst="rect">
            <a:avLst/>
          </a:prstGeom>
        </p:spPr>
      </p:pic>
      <p:pic>
        <p:nvPicPr>
          <p:cNvPr id="26" name="Picture Placeholder 21" descr="A picture containing calendar&#10;&#10;Description automatically generated">
            <a:extLst>
              <a:ext uri="{FF2B5EF4-FFF2-40B4-BE49-F238E27FC236}">
                <a16:creationId xmlns:a16="http://schemas.microsoft.com/office/drawing/2014/main" id="{639F4CA7-3949-180F-0C84-E076B08FE413}"/>
              </a:ext>
            </a:extLst>
          </p:cNvPr>
          <p:cNvPicPr>
            <a:picLocks noChangeAspect="1"/>
          </p:cNvPicPr>
          <p:nvPr/>
        </p:nvPicPr>
        <p:blipFill>
          <a:blip r:embed="rId8" cstate="print"/>
          <a:srcRect l="12220" t="15414" r="15683" b="14367"/>
          <a:stretch>
            <a:fillRect/>
          </a:stretch>
        </p:blipFill>
        <p:spPr>
          <a:xfrm>
            <a:off x="4735870" y="2254339"/>
            <a:ext cx="1165016" cy="1619175"/>
          </a:xfrm>
          <a:prstGeom prst="rect">
            <a:avLst/>
          </a:prstGeom>
          <a:noFill/>
          <a:ln>
            <a:noFill/>
          </a:ln>
        </p:spPr>
      </p:pic>
      <p:pic>
        <p:nvPicPr>
          <p:cNvPr id="27" name="Picture 26" descr="Graphical user interface&#10;&#10;Description automatically generated">
            <a:extLst>
              <a:ext uri="{FF2B5EF4-FFF2-40B4-BE49-F238E27FC236}">
                <a16:creationId xmlns:a16="http://schemas.microsoft.com/office/drawing/2014/main" id="{4346D553-32AF-8D35-CA30-95653D0237EB}"/>
              </a:ext>
            </a:extLst>
          </p:cNvPr>
          <p:cNvPicPr>
            <a:picLocks noChangeAspect="1"/>
          </p:cNvPicPr>
          <p:nvPr/>
        </p:nvPicPr>
        <p:blipFill>
          <a:blip r:embed="rId9"/>
          <a:stretch>
            <a:fillRect/>
          </a:stretch>
        </p:blipFill>
        <p:spPr>
          <a:xfrm>
            <a:off x="7037289" y="2558831"/>
            <a:ext cx="1389250" cy="780354"/>
          </a:xfrm>
          <a:prstGeom prst="rect">
            <a:avLst/>
          </a:prstGeom>
        </p:spPr>
      </p:pic>
    </p:spTree>
    <p:extLst>
      <p:ext uri="{BB962C8B-B14F-4D97-AF65-F5344CB8AC3E}">
        <p14:creationId xmlns:p14="http://schemas.microsoft.com/office/powerpoint/2010/main" val="34370147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N_Functions_16x9">
  <a:themeElements>
    <a:clrScheme name="AkzoNobel">
      <a:dk1>
        <a:srgbClr val="000000"/>
      </a:dk1>
      <a:lt1>
        <a:srgbClr val="FFFFFF"/>
      </a:lt1>
      <a:dk2>
        <a:srgbClr val="868688"/>
      </a:dk2>
      <a:lt2>
        <a:srgbClr val="B7B9BA"/>
      </a:lt2>
      <a:accent1>
        <a:srgbClr val="005192"/>
      </a:accent1>
      <a:accent2>
        <a:srgbClr val="56378A"/>
      </a:accent2>
      <a:accent3>
        <a:srgbClr val="952D98"/>
      </a:accent3>
      <a:accent4>
        <a:srgbClr val="C3004A"/>
      </a:accent4>
      <a:accent5>
        <a:srgbClr val="0092BB"/>
      </a:accent5>
      <a:accent6>
        <a:srgbClr val="44697D"/>
      </a:accent6>
      <a:hlink>
        <a:srgbClr val="008BC5"/>
      </a:hlink>
      <a:folHlink>
        <a:srgbClr val="005192"/>
      </a:folHlink>
    </a:clrScheme>
    <a:fontScheme name="AkzoNobe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lIns="0" tIns="0" rIns="0" bIns="0" rtlCol="0" anchor="t" anchorCtr="0"/>
      <a:lstStyle>
        <a:defPPr algn="l">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400" b="0" dirty="0" smtClean="0"/>
        </a:defPPr>
      </a:lstStyle>
    </a:txDef>
  </a:objectDefaults>
  <a:extraClrSchemeLst/>
  <a:custClrLst>
    <a:custClr name="AN Dark Blue">
      <a:srgbClr val="005192"/>
    </a:custClr>
    <a:custClr name="AN Purple">
      <a:srgbClr val="56378A"/>
    </a:custClr>
    <a:custClr name="AN Violet">
      <a:srgbClr val="952D98"/>
    </a:custClr>
    <a:custClr name="AN Fuchsia">
      <a:srgbClr val="C3004A"/>
    </a:custClr>
    <a:custClr name="AN Turquoise">
      <a:srgbClr val="0092BB"/>
    </a:custClr>
    <a:custClr name="AN Gray Blue">
      <a:srgbClr val="44697D"/>
    </a:custClr>
    <a:custClr name="AN Gray">
      <a:srgbClr val="868688"/>
    </a:custClr>
    <a:custClr name=" ">
      <a:srgbClr val="FFFFFF"/>
    </a:custClr>
    <a:custClr name=" ">
      <a:srgbClr val="FFFFFF"/>
    </a:custClr>
    <a:custClr name=" ">
      <a:srgbClr val="FFFFFF"/>
    </a:custClr>
    <a:custClr name="AN Light Blue">
      <a:srgbClr val="008BC5"/>
    </a:custClr>
    <a:custClr name="AN Pale Purple">
      <a:srgbClr val="C5BBDA"/>
    </a:custClr>
    <a:custClr name="AN Pale Violet">
      <a:srgbClr val="C966CD"/>
    </a:custClr>
    <a:custClr name="AN Pale Fuchsia">
      <a:srgbClr val="E64487"/>
    </a:custClr>
    <a:custClr name="AN Pale Turquoise">
      <a:srgbClr val="55BECF"/>
    </a:custClr>
    <a:custClr name="AN Pale Gray Blue">
      <a:srgbClr val="B9C9D0"/>
    </a:custClr>
    <a:custClr name="AN Pale Gray">
      <a:srgbClr val="B7B9BA"/>
    </a:custClr>
  </a:custClrLst>
  <a:extLst>
    <a:ext uri="{05A4C25C-085E-4340-85A3-A5531E510DB2}">
      <thm15:themeFamily xmlns:thm15="http://schemas.microsoft.com/office/thememl/2012/main" name="AN_Template_16x9_20180322.potx" id="{95D95A4F-F007-4B1E-9B31-0B34B8171606}" vid="{4852B979-E21C-4D34-B29B-103F9C9CF61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AN Working Document" ma:contentTypeID="0x0101005C1BEE2454CD7640B6C1B8BA67C5522501003075CCE47238AE46A7103EB058253FA4" ma:contentTypeVersion="117" ma:contentTypeDescription="Create a new document." ma:contentTypeScope="" ma:versionID="e18937166cb4437a4acefc0441a84a00">
  <xsd:schema xmlns:xsd="http://www.w3.org/2001/XMLSchema" xmlns:xs="http://www.w3.org/2001/XMLSchema" xmlns:p="http://schemas.microsoft.com/office/2006/metadata/properties" xmlns:ns1="http://schemas.microsoft.com/sharepoint/v3" xmlns:ns2="4fab6e6a-9d73-4e0c-873f-95a2af16e75c" xmlns:ns3="7dc9010c-46e6-4946-b720-0daeb4a043eb" targetNamespace="http://schemas.microsoft.com/office/2006/metadata/properties" ma:root="true" ma:fieldsID="0bf93d1e2f6e3e6f91e8ac93987f56da" ns1:_="" ns2:_="" ns3:_="">
    <xsd:import namespace="http://schemas.microsoft.com/sharepoint/v3"/>
    <xsd:import namespace="4fab6e6a-9d73-4e0c-873f-95a2af16e75c"/>
    <xsd:import namespace="7dc9010c-46e6-4946-b720-0daeb4a043eb"/>
    <xsd:element name="properties">
      <xsd:complexType>
        <xsd:sequence>
          <xsd:element name="documentManagement">
            <xsd:complexType>
              <xsd:all>
                <xsd:element ref="ns2:g9029d403c5c40e3b969b18adb6fd5b9" minOccurs="0"/>
                <xsd:element ref="ns2:TaxCatchAll" minOccurs="0"/>
                <xsd:element ref="ns2:TaxCatchAllLabel" minOccurs="0"/>
                <xsd:element ref="ns2:cc2dd03876fb497f97efb31ac36a49be" minOccurs="0"/>
                <xsd:element ref="ns2:d085d8b774b34c079f4d06fc1b85e285" minOccurs="0"/>
                <xsd:element ref="ns2:ocd95ad6b8e04e7f842942825668fbb5" minOccurs="0"/>
                <xsd:element ref="ns1:ol_Department" minOccurs="0"/>
                <xsd:element ref="ns2:mae7e2ab67634575ac873c82e00fa1a0" minOccurs="0"/>
                <xsd:element ref="ns2:mda0baadc97c4db7badb76e25463554a" minOccurs="0"/>
                <xsd:element ref="ns2:ef1fcb5509b14f4497a7b17975627e9f" minOccurs="0"/>
                <xsd:element ref="ns2:aa8db5530e2a45348bde7c5817e341ff" minOccurs="0"/>
                <xsd:element ref="ns2:a3d9eac3772e4880895b85fe254adfa9" minOccurs="0"/>
                <xsd:element ref="ns2:j66dce8a783c450aa3780bca39aa40ce" minOccurs="0"/>
                <xsd:element ref="ns2:i7bf91362ff6412db9e6f8c4b81f26b3" minOccurs="0"/>
                <xsd:element ref="ns2:labc0929767c4783b2d8fa740ca218b7" minOccurs="0"/>
                <xsd:element ref="ns2:d20803f3fe4247919b9b759f5e362834" minOccurs="0"/>
                <xsd:element ref="ns2:d32ae41130da493b86132e3a953071f9"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ol_Department" ma:index="18" nillable="true" ma:displayName="Department" ma:internalName="ol_Departmen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fab6e6a-9d73-4e0c-873f-95a2af16e75c" elementFormDefault="qualified">
    <xsd:import namespace="http://schemas.microsoft.com/office/2006/documentManagement/types"/>
    <xsd:import namespace="http://schemas.microsoft.com/office/infopath/2007/PartnerControls"/>
    <xsd:element name="g9029d403c5c40e3b969b18adb6fd5b9" ma:index="8" ma:taxonomy="true" ma:internalName="g9029d403c5c40e3b969b18adb6fd5b9" ma:taxonomyFieldName="AN_x002d_BusinessAreaCode" ma:displayName="Business Area Code" ma:readOnly="false" ma:default="" ma:fieldId="{09029d40-3c5c-40e3-b969-b18adb6fd5b9}" ma:taxonomyMulti="true" ma:sspId="34817a06-5577-4462-8781-9851d056e4aa" ma:termSetId="4be3c42f-e5b6-4330-9300-cb1919e8b84c"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5a065d3e-d8d4-41f1-944f-59bda982b42f}" ma:internalName="TaxCatchAll" ma:showField="CatchAllData" ma:web="7dc9010c-46e6-4946-b720-0daeb4a043eb">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a065d3e-d8d4-41f1-944f-59bda982b42f}" ma:internalName="TaxCatchAllLabel" ma:readOnly="true" ma:showField="CatchAllDataLabel" ma:web="7dc9010c-46e6-4946-b720-0daeb4a043eb">
      <xsd:complexType>
        <xsd:complexContent>
          <xsd:extension base="dms:MultiChoiceLookup">
            <xsd:sequence>
              <xsd:element name="Value" type="dms:Lookup" maxOccurs="unbounded" minOccurs="0" nillable="true"/>
            </xsd:sequence>
          </xsd:extension>
        </xsd:complexContent>
      </xsd:complexType>
    </xsd:element>
    <xsd:element name="cc2dd03876fb497f97efb31ac36a49be" ma:index="12" ma:taxonomy="true" ma:internalName="cc2dd03876fb497f97efb31ac36a49be" ma:taxonomyFieldName="AN_x002d_BusinessAreaName" ma:displayName="Business Area Name" ma:readOnly="false" ma:default="" ma:fieldId="{cc2dd038-76fb-497f-97ef-b31ac36a49be}" ma:taxonomyMulti="true" ma:sspId="34817a06-5577-4462-8781-9851d056e4aa" ma:termSetId="b4ba9ded-7c82-449c-8669-f58e84b8420c" ma:anchorId="00000000-0000-0000-0000-000000000000" ma:open="false" ma:isKeyword="false">
      <xsd:complexType>
        <xsd:sequence>
          <xsd:element ref="pc:Terms" minOccurs="0" maxOccurs="1"/>
        </xsd:sequence>
      </xsd:complexType>
    </xsd:element>
    <xsd:element name="d085d8b774b34c079f4d06fc1b85e285" ma:index="14" ma:taxonomy="true" ma:internalName="d085d8b774b34c079f4d06fc1b85e285" ma:taxonomyFieldName="AN_x002d_BusinessUnitCode" ma:displayName="Business Unit Code" ma:default="" ma:fieldId="{d085d8b7-74b3-4c07-9f4d-06fc1b85e285}" ma:taxonomyMulti="true" ma:sspId="34817a06-5577-4462-8781-9851d056e4aa" ma:termSetId="18ce08ee-805a-48c8-8f23-d5b3bf5757ba" ma:anchorId="00000000-0000-0000-0000-000000000000" ma:open="false" ma:isKeyword="false">
      <xsd:complexType>
        <xsd:sequence>
          <xsd:element ref="pc:Terms" minOccurs="0" maxOccurs="1"/>
        </xsd:sequence>
      </xsd:complexType>
    </xsd:element>
    <xsd:element name="ocd95ad6b8e04e7f842942825668fbb5" ma:index="16" ma:taxonomy="true" ma:internalName="ocd95ad6b8e04e7f842942825668fbb5" ma:taxonomyFieldName="AN_x002d_BusinessUnitName" ma:displayName="Business Unit Name" ma:default="" ma:fieldId="{8cd95ad6-b8e0-4e7f-8429-42825668fbb5}" ma:taxonomyMulti="true" ma:sspId="34817a06-5577-4462-8781-9851d056e4aa" ma:termSetId="065ab6a1-3071-4584-b682-6da83ab86c5a" ma:anchorId="00000000-0000-0000-0000-000000000000" ma:open="false" ma:isKeyword="false">
      <xsd:complexType>
        <xsd:sequence>
          <xsd:element ref="pc:Terms" minOccurs="0" maxOccurs="1"/>
        </xsd:sequence>
      </xsd:complexType>
    </xsd:element>
    <xsd:element name="mae7e2ab67634575ac873c82e00fa1a0" ma:index="19" ma:taxonomy="true" ma:internalName="mae7e2ab67634575ac873c82e00fa1a0" ma:taxonomyFieldName="AN_x002d_TopicArea" ma:displayName="Topic Area" ma:fieldId="{6ae7e2ab-6763-4575-ac87-3c82e00fa1a0}" ma:sspId="34817a06-5577-4462-8781-9851d056e4aa" ma:termSetId="b40e0041-f740-470c-9d94-0b547bccd21a" ma:anchorId="00000000-0000-0000-0000-000000000000" ma:open="false" ma:isKeyword="false">
      <xsd:complexType>
        <xsd:sequence>
          <xsd:element ref="pc:Terms" minOccurs="0" maxOccurs="1"/>
        </xsd:sequence>
      </xsd:complexType>
    </xsd:element>
    <xsd:element name="mda0baadc97c4db7badb76e25463554a" ma:index="21" ma:taxonomy="true" ma:internalName="mda0baadc97c4db7badb76e25463554a" ma:taxonomyFieldName="AN_x002d_CountryCode" ma:displayName="Country Code" ma:default="" ma:fieldId="{6da0baad-c97c-4db7-badb-76e25463554a}" ma:taxonomyMulti="true" ma:sspId="34817a06-5577-4462-8781-9851d056e4aa" ma:termSetId="7cb3b333-7ce8-493a-8c70-f93807ff97dd" ma:anchorId="00000000-0000-0000-0000-000000000000" ma:open="false" ma:isKeyword="false">
      <xsd:complexType>
        <xsd:sequence>
          <xsd:element ref="pc:Terms" minOccurs="0" maxOccurs="1"/>
        </xsd:sequence>
      </xsd:complexType>
    </xsd:element>
    <xsd:element name="ef1fcb5509b14f4497a7b17975627e9f" ma:index="23" ma:taxonomy="true" ma:internalName="ef1fcb5509b14f4497a7b17975627e9f" ma:taxonomyFieldName="AN_x002d_CountryName" ma:displayName="Country Name" ma:default="" ma:fieldId="{ef1fcb55-09b1-4f44-97a7-b17975627e9f}" ma:taxonomyMulti="true" ma:sspId="34817a06-5577-4462-8781-9851d056e4aa" ma:termSetId="82f4b838-eff4-4f3c-a1fd-2b4ec7e3b9d2" ma:anchorId="00000000-0000-0000-0000-000000000000" ma:open="false" ma:isKeyword="false">
      <xsd:complexType>
        <xsd:sequence>
          <xsd:element ref="pc:Terms" minOccurs="0" maxOccurs="1"/>
        </xsd:sequence>
      </xsd:complexType>
    </xsd:element>
    <xsd:element name="aa8db5530e2a45348bde7c5817e341ff" ma:index="25" ma:taxonomy="true" ma:internalName="aa8db5530e2a45348bde7c5817e341ff" ma:taxonomyFieldName="AN_x002d_SecurityClass" ma:displayName="Security Class" ma:fieldId="{aa8db553-0e2a-4534-8bde-7c5817e341ff}" ma:sspId="34817a06-5577-4462-8781-9851d056e4aa" ma:termSetId="aa54f70f-17d9-40ad-be86-41ba6aadaa28" ma:anchorId="00000000-0000-0000-0000-000000000000" ma:open="false" ma:isKeyword="false">
      <xsd:complexType>
        <xsd:sequence>
          <xsd:element ref="pc:Terms" minOccurs="0" maxOccurs="1"/>
        </xsd:sequence>
      </xsd:complexType>
    </xsd:element>
    <xsd:element name="a3d9eac3772e4880895b85fe254adfa9" ma:index="27" ma:taxonomy="true" ma:internalName="a3d9eac3772e4880895b85fe254adfa9" ma:taxonomyFieldName="AN_x002d_RegionCode" ma:displayName="Region Code" ma:fieldId="{a3d9eac3-772e-4880-895b-85fe254adfa9}" ma:sspId="34817a06-5577-4462-8781-9851d056e4aa" ma:termSetId="4b6f7656-1c15-4149-a07f-5ccc2445063c" ma:anchorId="00000000-0000-0000-0000-000000000000" ma:open="false" ma:isKeyword="false">
      <xsd:complexType>
        <xsd:sequence>
          <xsd:element ref="pc:Terms" minOccurs="0" maxOccurs="1"/>
        </xsd:sequence>
      </xsd:complexType>
    </xsd:element>
    <xsd:element name="j66dce8a783c450aa3780bca39aa40ce" ma:index="29" ma:taxonomy="true" ma:internalName="j66dce8a783c450aa3780bca39aa40ce" ma:taxonomyFieldName="AN_x002d_RegionName" ma:displayName="Region Name" ma:fieldId="{366dce8a-783c-450a-a378-0bca39aa40ce}" ma:sspId="34817a06-5577-4462-8781-9851d056e4aa" ma:termSetId="6ed19847-4020-4c57-904e-b70bd42e29c6" ma:anchorId="00000000-0000-0000-0000-000000000000" ma:open="false" ma:isKeyword="false">
      <xsd:complexType>
        <xsd:sequence>
          <xsd:element ref="pc:Terms" minOccurs="0" maxOccurs="1"/>
        </xsd:sequence>
      </xsd:complexType>
    </xsd:element>
    <xsd:element name="i7bf91362ff6412db9e6f8c4b81f26b3" ma:index="31" ma:taxonomy="true" ma:internalName="i7bf91362ff6412db9e6f8c4b81f26b3" ma:taxonomyFieldName="AN_x002d_ClusterCode" ma:displayName="Cluster Code" ma:fieldId="{27bf9136-2ff6-412d-b9e6-f8c4b81f26b3}" ma:sspId="34817a06-5577-4462-8781-9851d056e4aa" ma:termSetId="d5563a6b-3c50-42f9-a70e-dd40e3934e9f" ma:anchorId="00000000-0000-0000-0000-000000000000" ma:open="false" ma:isKeyword="false">
      <xsd:complexType>
        <xsd:sequence>
          <xsd:element ref="pc:Terms" minOccurs="0" maxOccurs="1"/>
        </xsd:sequence>
      </xsd:complexType>
    </xsd:element>
    <xsd:element name="labc0929767c4783b2d8fa740ca218b7" ma:index="33" ma:taxonomy="true" ma:internalName="labc0929767c4783b2d8fa740ca218b7" ma:taxonomyFieldName="AN_x002d_ClusterName" ma:displayName="Cluster Name" ma:fieldId="{5abc0929-767c-4783-b2d8-fa740ca218b7}" ma:sspId="34817a06-5577-4462-8781-9851d056e4aa" ma:termSetId="948d2c6f-5048-46cd-906c-1ac4b0e271e4" ma:anchorId="00000000-0000-0000-0000-000000000000" ma:open="false" ma:isKeyword="false">
      <xsd:complexType>
        <xsd:sequence>
          <xsd:element ref="pc:Terms" minOccurs="0" maxOccurs="1"/>
        </xsd:sequence>
      </xsd:complexType>
    </xsd:element>
    <xsd:element name="d20803f3fe4247919b9b759f5e362834" ma:index="35" ma:taxonomy="true" ma:internalName="d20803f3fe4247919b9b759f5e362834" ma:taxonomyFieldName="AN_x002d_SiteCode" ma:displayName="Site Code" ma:fieldId="{d20803f3-fe42-4791-9b9b-759f5e362834}" ma:sspId="34817a06-5577-4462-8781-9851d056e4aa" ma:termSetId="ba35cd31-86dc-4463-99fb-47af86809616" ma:anchorId="00000000-0000-0000-0000-000000000000" ma:open="false" ma:isKeyword="false">
      <xsd:complexType>
        <xsd:sequence>
          <xsd:element ref="pc:Terms" minOccurs="0" maxOccurs="1"/>
        </xsd:sequence>
      </xsd:complexType>
    </xsd:element>
    <xsd:element name="d32ae41130da493b86132e3a953071f9" ma:index="37" ma:taxonomy="true" ma:internalName="d32ae41130da493b86132e3a953071f9" ma:taxonomyFieldName="AN_x002d_SiteName" ma:displayName="Site Name" ma:fieldId="{d32ae411-30da-493b-8613-2e3a953071f9}" ma:sspId="34817a06-5577-4462-8781-9851d056e4aa" ma:termSetId="cd6c1a7e-5fc1-459f-98cf-50c16f7282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c9010c-46e6-4946-b720-0daeb4a043eb" elementFormDefault="qualified">
    <xsd:import namespace="http://schemas.microsoft.com/office/2006/documentManagement/types"/>
    <xsd:import namespace="http://schemas.microsoft.com/office/infopath/2007/PartnerControls"/>
    <xsd:element name="_dlc_DocId" ma:index="39" nillable="true" ma:displayName="Document ID Value" ma:description="The value of the document ID assigned to this item." ma:indexed="true" ma:internalName="_dlc_DocId" ma:readOnly="true">
      <xsd:simpleType>
        <xsd:restriction base="dms:Text"/>
      </xsd:simpleType>
    </xsd:element>
    <xsd:element name="_dlc_DocIdUrl" ma:index="4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4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haredContentType xmlns="Microsoft.SharePoint.Taxonomy.ContentTypeSync" SourceId="34817a06-5577-4462-8781-9851d056e4aa" ContentTypeId="0x0101005C1BEE2454CD7640B6C1B8BA67C5522501" PreviousValue="false"/>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properties xmlns:p="http://schemas.microsoft.com/office/2006/metadata/properties" xmlns:xsi="http://www.w3.org/2001/XMLSchema-instance" xmlns:pc="http://schemas.microsoft.com/office/infopath/2007/PartnerControls">
  <documentManagement>
    <aa8db5530e2a45348bde7c5817e341ff xmlns="4fab6e6a-9d73-4e0c-873f-95a2af16e75c">
      <Terms xmlns="http://schemas.microsoft.com/office/infopath/2007/PartnerControls">
        <TermInfo xmlns="http://schemas.microsoft.com/office/infopath/2007/PartnerControls">
          <TermName xmlns="http://schemas.microsoft.com/office/infopath/2007/PartnerControls">Restricted</TermName>
          <TermId xmlns="http://schemas.microsoft.com/office/infopath/2007/PartnerControls">bbd8224c-5f2c-46d6-b6c8-7d3985b69fd1</TermId>
        </TermInfo>
      </Terms>
    </aa8db5530e2a45348bde7c5817e341ff>
    <ol_Department xmlns="http://schemas.microsoft.com/sharepoint/v3">DP SESA Commercial Excellence</ol_Department>
    <d085d8b774b34c079f4d06fc1b85e285 xmlns="4fab6e6a-9d73-4e0c-873f-95a2af16e75c">
      <Terms xmlns="http://schemas.microsoft.com/office/infopath/2007/PartnerControls">
        <TermInfo xmlns="http://schemas.microsoft.com/office/infopath/2007/PartnerControls">
          <TermName xmlns="http://schemas.microsoft.com/office/infopath/2007/PartnerControls">BADP</TermName>
          <TermId xmlns="http://schemas.microsoft.com/office/infopath/2007/PartnerControls">a2709f12-3b57-4802-914e-16530e1e0585</TermId>
        </TermInfo>
      </Terms>
    </d085d8b774b34c079f4d06fc1b85e285>
    <_dlc_DocId xmlns="7dc9010c-46e6-4946-b720-0daeb4a043eb">SPOSC00008-351303162-39617</_dlc_DocId>
    <labc0929767c4783b2d8fa740ca218b7 xmlns="4fab6e6a-9d73-4e0c-873f-95a2af16e75c">
      <Terms xmlns="http://schemas.microsoft.com/office/infopath/2007/PartnerControls">
        <TermInfo xmlns="http://schemas.microsoft.com/office/infopath/2007/PartnerControls">
          <TermName xmlns="http://schemas.microsoft.com/office/infopath/2007/PartnerControls">Central Europe</TermName>
          <TermId xmlns="http://schemas.microsoft.com/office/infopath/2007/PartnerControls">b1cfca3a-f357-40e6-98ad-6479002c6777</TermId>
        </TermInfo>
      </Terms>
    </labc0929767c4783b2d8fa740ca218b7>
    <ef1fcb5509b14f4497a7b17975627e9f xmlns="4fab6e6a-9d73-4e0c-873f-95a2af16e75c">
      <Terms xmlns="http://schemas.microsoft.com/office/infopath/2007/PartnerControls">
        <TermInfo xmlns="http://schemas.microsoft.com/office/infopath/2007/PartnerControls">
          <TermName xmlns="http://schemas.microsoft.com/office/infopath/2007/PartnerControls">Argentina</TermName>
          <TermId xmlns="http://schemas.microsoft.com/office/infopath/2007/PartnerControls">01293ee1-c970-4eac-9acd-1037020c531b</TermId>
        </TermInfo>
      </Terms>
    </ef1fcb5509b14f4497a7b17975627e9f>
    <i7bf91362ff6412db9e6f8c4b81f26b3 xmlns="4fab6e6a-9d73-4e0c-873f-95a2af16e75c">
      <Terms xmlns="http://schemas.microsoft.com/office/infopath/2007/PartnerControls">
        <TermInfo xmlns="http://schemas.microsoft.com/office/infopath/2007/PartnerControls">
          <TermName xmlns="http://schemas.microsoft.com/office/infopath/2007/PartnerControls">CEUR</TermName>
          <TermId xmlns="http://schemas.microsoft.com/office/infopath/2007/PartnerControls">c2b0dd99-0ebb-4475-af32-8c000ce005d6</TermId>
        </TermInfo>
      </Terms>
    </i7bf91362ff6412db9e6f8c4b81f26b3>
    <mda0baadc97c4db7badb76e25463554a xmlns="4fab6e6a-9d73-4e0c-873f-95a2af16e75c">
      <Terms xmlns="http://schemas.microsoft.com/office/infopath/2007/PartnerControls">
        <TermInfo xmlns="http://schemas.microsoft.com/office/infopath/2007/PartnerControls">
          <TermName xmlns="http://schemas.microsoft.com/office/infopath/2007/PartnerControls">AE</TermName>
          <TermId xmlns="http://schemas.microsoft.com/office/infopath/2007/PartnerControls">affb6a9a-f2a3-422a-b2a5-1a9a1e8f1224</TermId>
        </TermInfo>
      </Terms>
    </mda0baadc97c4db7badb76e25463554a>
    <ocd95ad6b8e04e7f842942825668fbb5 xmlns="4fab6e6a-9d73-4e0c-873f-95a2af16e75c">
      <Terms xmlns="http://schemas.microsoft.com/office/infopath/2007/PartnerControls">
        <TermInfo xmlns="http://schemas.microsoft.com/office/infopath/2007/PartnerControls">
          <TermName xmlns="http://schemas.microsoft.com/office/infopath/2007/PartnerControls">Corporate Communications and Public Affairs</TermName>
          <TermId xmlns="http://schemas.microsoft.com/office/infopath/2007/PartnerControls">071986f4-f637-475f-bc64-438ab2e3d18e</TermId>
        </TermInfo>
      </Terms>
    </ocd95ad6b8e04e7f842942825668fbb5>
    <d20803f3fe4247919b9b759f5e362834 xmlns="4fab6e6a-9d73-4e0c-873f-95a2af16e75c">
      <Terms xmlns="http://schemas.microsoft.com/office/infopath/2007/PartnerControls">
        <TermInfo xmlns="http://schemas.microsoft.com/office/infopath/2007/PartnerControls">
          <TermName xmlns="http://schemas.microsoft.com/office/infopath/2007/PartnerControls">SGW</TermName>
          <TermId xmlns="http://schemas.microsoft.com/office/infopath/2007/PartnerControls">1bc8357a-14b7-4009-ab05-a97a180b0dc3</TermId>
        </TermInfo>
      </Terms>
    </d20803f3fe4247919b9b759f5e362834>
    <j66dce8a783c450aa3780bca39aa40ce xmlns="4fab6e6a-9d73-4e0c-873f-95a2af16e75c">
      <Terms xmlns="http://schemas.microsoft.com/office/infopath/2007/PartnerControls">
        <TermInfo xmlns="http://schemas.microsoft.com/office/infopath/2007/PartnerControls">
          <TermName xmlns="http://schemas.microsoft.com/office/infopath/2007/PartnerControls">ASIA PACIFIC</TermName>
          <TermId xmlns="http://schemas.microsoft.com/office/infopath/2007/PartnerControls">d8063886-63c9-4901-9180-ec1d4acc9200</TermId>
        </TermInfo>
      </Terms>
    </j66dce8a783c450aa3780bca39aa40ce>
    <_dlc_DocIdUrl xmlns="7dc9010c-46e6-4946-b720-0daeb4a043eb">
      <Url>https://akzonobel.sharepoint.com/sites/SC00008/T13201/_layouts/15/DocIdRedir.aspx?ID=SPOSC00008-351303162-39617</Url>
      <Description>SPOSC00008-351303162-39617</Description>
    </_dlc_DocIdUrl>
    <a3d9eac3772e4880895b85fe254adfa9 xmlns="4fab6e6a-9d73-4e0c-873f-95a2af16e75c">
      <Terms xmlns="http://schemas.microsoft.com/office/infopath/2007/PartnerControls">
        <TermInfo xmlns="http://schemas.microsoft.com/office/infopath/2007/PartnerControls">
          <TermName xmlns="http://schemas.microsoft.com/office/infopath/2007/PartnerControls">AMER</TermName>
          <TermId xmlns="http://schemas.microsoft.com/office/infopath/2007/PartnerControls">81521a81-7113-43b3-a1b1-174c68bc0af1</TermId>
        </TermInfo>
      </Terms>
    </a3d9eac3772e4880895b85fe254adfa9>
    <g9029d403c5c40e3b969b18adb6fd5b9 xmlns="4fab6e6a-9d73-4e0c-873f-95a2af16e75c">
      <Terms xmlns="http://schemas.microsoft.com/office/infopath/2007/PartnerControls">
        <TermInfo xmlns="http://schemas.microsoft.com/office/infopath/2007/PartnerControls">
          <TermName xmlns="http://schemas.microsoft.com/office/infopath/2007/PartnerControls">DP</TermName>
          <TermId xmlns="http://schemas.microsoft.com/office/infopath/2007/PartnerControls">b9b347ac-58c5-4a62-954d-4208f7a10217</TermId>
        </TermInfo>
      </Terms>
    </g9029d403c5c40e3b969b18adb6fd5b9>
    <d32ae41130da493b86132e3a953071f9 xmlns="4fab6e6a-9d73-4e0c-873f-95a2af16e75c">
      <Terms xmlns="http://schemas.microsoft.com/office/infopath/2007/PartnerControls">
        <TermInfo xmlns="http://schemas.microsoft.com/office/infopath/2007/PartnerControls">
          <TermName xmlns="http://schemas.microsoft.com/office/infopath/2007/PartnerControls">Aabyhoej</TermName>
          <TermId xmlns="http://schemas.microsoft.com/office/infopath/2007/PartnerControls">1c1c43b1-9bd1-447e-b35b-b64e2dd2b66a</TermId>
        </TermInfo>
      </Terms>
    </d32ae41130da493b86132e3a953071f9>
    <cc2dd03876fb497f97efb31ac36a49be xmlns="4fab6e6a-9d73-4e0c-873f-95a2af16e75c">
      <Terms xmlns="http://schemas.microsoft.com/office/infopath/2007/PartnerControls">
        <TermInfo xmlns="http://schemas.microsoft.com/office/infopath/2007/PartnerControls">
          <TermName xmlns="http://schemas.microsoft.com/office/infopath/2007/PartnerControls">Decorative Paints</TermName>
          <TermId xmlns="http://schemas.microsoft.com/office/infopath/2007/PartnerControls">fb95134c-f750-479c-8c94-c6cfe5c93d85</TermId>
        </TermInfo>
      </Terms>
    </cc2dd03876fb497f97efb31ac36a49be>
    <mae7e2ab67634575ac873c82e00fa1a0 xmlns="4fab6e6a-9d73-4e0c-873f-95a2af16e75c">
      <Terms xmlns="http://schemas.microsoft.com/office/infopath/2007/PartnerControls">
        <TermInfo xmlns="http://schemas.microsoft.com/office/infopath/2007/PartnerControls">
          <TermName xmlns="http://schemas.microsoft.com/office/infopath/2007/PartnerControls">Communication</TermName>
          <TermId xmlns="http://schemas.microsoft.com/office/infopath/2007/PartnerControls">679be991-455d-4b1e-9b5a-ea1100e23e6c</TermId>
        </TermInfo>
      </Terms>
    </mae7e2ab67634575ac873c82e00fa1a0>
    <TaxCatchAll xmlns="4fab6e6a-9d73-4e0c-873f-95a2af16e75c">
      <Value>443</Value>
      <Value>97</Value>
      <Value>182</Value>
      <Value>73</Value>
      <Value>212</Value>
      <Value>24</Value>
      <Value>23</Value>
      <Value>96</Value>
      <Value>15</Value>
      <Value>274</Value>
      <Value>82</Value>
      <Value>44</Value>
      <Value>191</Value>
      <Value>335</Value>
    </TaxCatchAll>
  </documentManagement>
</p:properties>
</file>

<file path=customXml/itemProps1.xml><?xml version="1.0" encoding="utf-8"?>
<ds:datastoreItem xmlns:ds="http://schemas.openxmlformats.org/officeDocument/2006/customXml" ds:itemID="{6F2C0CC2-D8B6-4384-9649-0A9D74BEF048}"/>
</file>

<file path=customXml/itemProps2.xml><?xml version="1.0" encoding="utf-8"?>
<ds:datastoreItem xmlns:ds="http://schemas.openxmlformats.org/officeDocument/2006/customXml" ds:itemID="{75A2285A-5330-4BC6-93AC-772038762676}"/>
</file>

<file path=customXml/itemProps3.xml><?xml version="1.0" encoding="utf-8"?>
<ds:datastoreItem xmlns:ds="http://schemas.openxmlformats.org/officeDocument/2006/customXml" ds:itemID="{4444C138-BD82-44AA-9427-90B4A57665A5}"/>
</file>

<file path=customXml/itemProps4.xml><?xml version="1.0" encoding="utf-8"?>
<ds:datastoreItem xmlns:ds="http://schemas.openxmlformats.org/officeDocument/2006/customXml" ds:itemID="{CE49301F-E0A8-4371-9FC3-BD51691D0BDB}"/>
</file>

<file path=customXml/itemProps5.xml><?xml version="1.0" encoding="utf-8"?>
<ds:datastoreItem xmlns:ds="http://schemas.openxmlformats.org/officeDocument/2006/customXml" ds:itemID="{B70FDED1-C8BA-4779-AE4A-0976E61BD255}"/>
</file>

<file path=docProps/app.xml><?xml version="1.0" encoding="utf-8"?>
<Properties xmlns="http://schemas.openxmlformats.org/officeDocument/2006/extended-properties" xmlns:vt="http://schemas.openxmlformats.org/officeDocument/2006/docPropsVTypes">
  <Template>blank</Template>
  <TotalTime>1516</TotalTime>
  <Words>4783</Words>
  <Application>Microsoft Office PowerPoint</Application>
  <PresentationFormat>On-screen Show (16:9)</PresentationFormat>
  <Paragraphs>773</Paragraphs>
  <Slides>25</Slides>
  <Notes>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2" baseType="lpstr">
      <vt:lpstr>Arial</vt:lpstr>
      <vt:lpstr>Calibri</vt:lpstr>
      <vt:lpstr>Colour Sans</vt:lpstr>
      <vt:lpstr>Open Sans</vt:lpstr>
      <vt:lpstr>Wingdings</vt:lpstr>
      <vt:lpstr>AN_Functions_16x9</vt:lpstr>
      <vt:lpstr>think-cell Slide</vt:lpstr>
      <vt:lpstr>India 1-2-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Akzonob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kit Sharma</dc:creator>
  <dc:description>v3.2</dc:description>
  <cp:lastModifiedBy>Usman Hafaz</cp:lastModifiedBy>
  <cp:revision>3</cp:revision>
  <dcterms:created xsi:type="dcterms:W3CDTF">2023-08-29T07:12:09Z</dcterms:created>
  <dcterms:modified xsi:type="dcterms:W3CDTF">2023-09-05T08:4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N-ClusterCode">
    <vt:lpwstr>23;#CEUR|c2b0dd99-0ebb-4475-af32-8c000ce005d6</vt:lpwstr>
  </property>
  <property fmtid="{D5CDD505-2E9C-101B-9397-08002B2CF9AE}" pid="3" name="AN-ClusterName">
    <vt:lpwstr>24;#Central Europe|b1cfca3a-f357-40e6-98ad-6479002c6777</vt:lpwstr>
  </property>
  <property fmtid="{D5CDD505-2E9C-101B-9397-08002B2CF9AE}" pid="4" name="MediaServiceImageTags">
    <vt:lpwstr/>
  </property>
  <property fmtid="{D5CDD505-2E9C-101B-9397-08002B2CF9AE}" pid="5" name="ContentTypeId">
    <vt:lpwstr>0x0101005C1BEE2454CD7640B6C1B8BA67C5522501003075CCE47238AE46A7103EB058253FA4</vt:lpwstr>
  </property>
  <property fmtid="{D5CDD505-2E9C-101B-9397-08002B2CF9AE}" pid="6" name="AN-SecurityClass">
    <vt:lpwstr>15;#Restricted|bbd8224c-5f2c-46d6-b6c8-7d3985b69fd1</vt:lpwstr>
  </property>
  <property fmtid="{D5CDD505-2E9C-101B-9397-08002B2CF9AE}" pid="7" name="AN-BusinessUnitCode">
    <vt:lpwstr>191;#BADP|a2709f12-3b57-4802-914e-16530e1e0585</vt:lpwstr>
  </property>
  <property fmtid="{D5CDD505-2E9C-101B-9397-08002B2CF9AE}" pid="8" name="AN-BusinessUnitName">
    <vt:lpwstr>443;#Corporate Communications and Public Affairs|071986f4-f637-475f-bc64-438ab2e3d18e</vt:lpwstr>
  </property>
  <property fmtid="{D5CDD505-2E9C-101B-9397-08002B2CF9AE}" pid="9" name="AN-SiteCode">
    <vt:lpwstr>335;#SGW|1bc8357a-14b7-4009-ab05-a97a180b0dc3</vt:lpwstr>
  </property>
  <property fmtid="{D5CDD505-2E9C-101B-9397-08002B2CF9AE}" pid="10" name="_dlc_DocIdItemGuid">
    <vt:lpwstr>32ebbefb-5a25-4636-8c31-c14e84e63beb</vt:lpwstr>
  </property>
  <property fmtid="{D5CDD505-2E9C-101B-9397-08002B2CF9AE}" pid="11" name="AN-SiteName">
    <vt:lpwstr>212;#Aabyhoej|1c1c43b1-9bd1-447e-b35b-b64e2dd2b66a</vt:lpwstr>
  </property>
  <property fmtid="{D5CDD505-2E9C-101B-9397-08002B2CF9AE}" pid="12" name="AN_x002d_Keywords">
    <vt:lpwstr/>
  </property>
  <property fmtid="{D5CDD505-2E9C-101B-9397-08002B2CF9AE}" pid="13" name="AN-TopicArea">
    <vt:lpwstr>182;#Communication|679be991-455d-4b1e-9b5a-ea1100e23e6c</vt:lpwstr>
  </property>
  <property fmtid="{D5CDD505-2E9C-101B-9397-08002B2CF9AE}" pid="14" name="AN-RegionCode">
    <vt:lpwstr>82;#AMER|81521a81-7113-43b3-a1b1-174c68bc0af1</vt:lpwstr>
  </property>
  <property fmtid="{D5CDD505-2E9C-101B-9397-08002B2CF9AE}" pid="15" name="ad2168abc306415a91d71ea6c7fad86b">
    <vt:lpwstr/>
  </property>
  <property fmtid="{D5CDD505-2E9C-101B-9397-08002B2CF9AE}" pid="16" name="AN-RegionName">
    <vt:lpwstr>73;#ASIA PACIFIC|d8063886-63c9-4901-9180-ec1d4acc9200</vt:lpwstr>
  </property>
  <property fmtid="{D5CDD505-2E9C-101B-9397-08002B2CF9AE}" pid="17" name="AN-CountryCode">
    <vt:lpwstr>274;#AE|affb6a9a-f2a3-422a-b2a5-1a9a1e8f1224</vt:lpwstr>
  </property>
  <property fmtid="{D5CDD505-2E9C-101B-9397-08002B2CF9AE}" pid="18" name="AN-BusinessAreaCode">
    <vt:lpwstr>96;#DP|b9b347ac-58c5-4a62-954d-4208f7a10217</vt:lpwstr>
  </property>
  <property fmtid="{D5CDD505-2E9C-101B-9397-08002B2CF9AE}" pid="19" name="lcf76f155ced4ddcb4097134ff3c332f">
    <vt:lpwstr/>
  </property>
  <property fmtid="{D5CDD505-2E9C-101B-9397-08002B2CF9AE}" pid="20" name="AN-CountryName">
    <vt:lpwstr>44;#Argentina|01293ee1-c970-4eac-9acd-1037020c531b</vt:lpwstr>
  </property>
  <property fmtid="{D5CDD505-2E9C-101B-9397-08002B2CF9AE}" pid="21" name="AN-BusinessAreaName">
    <vt:lpwstr>97;#Decorative Paints|fb95134c-f750-479c-8c94-c6cfe5c93d85</vt:lpwstr>
  </property>
  <property fmtid="{D5CDD505-2E9C-101B-9397-08002B2CF9AE}" pid="22" name="AN-Keywords">
    <vt:lpwstr/>
  </property>
</Properties>
</file>